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57" r:id="rId6"/>
    <p:sldId id="275" r:id="rId7"/>
    <p:sldId id="262" r:id="rId8"/>
    <p:sldId id="272" r:id="rId9"/>
    <p:sldId id="270" r:id="rId10"/>
    <p:sldId id="278" r:id="rId11"/>
    <p:sldId id="282" r:id="rId12"/>
    <p:sldId id="284" r:id="rId13"/>
    <p:sldId id="280" r:id="rId14"/>
    <p:sldId id="281" r:id="rId15"/>
    <p:sldId id="260" r:id="rId16"/>
    <p:sldId id="261" r:id="rId17"/>
    <p:sldId id="273" r:id="rId18"/>
    <p:sldId id="276" r:id="rId19"/>
    <p:sldId id="274" r:id="rId20"/>
    <p:sldId id="266" r:id="rId21"/>
    <p:sldId id="271" r:id="rId22"/>
    <p:sldId id="277" r:id="rId23"/>
    <p:sldId id="28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5BF2C4B-E781-75B1-3553-E5017330750D}" name="Karthik Kumar Mohan Kumar (US)" initials="KKMK(" userId="S::karthik.kumar.mohan.kumar@pwc.com::3cdcd0d0-d79d-4cac-a973-6d44558add0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E9E6DF"/>
    <a:srgbClr val="89898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0704" autoAdjust="0"/>
  </p:normalViewPr>
  <p:slideViewPr>
    <p:cSldViewPr snapToGrid="0">
      <p:cViewPr varScale="1">
        <p:scale>
          <a:sx n="61" d="100"/>
          <a:sy n="61" d="100"/>
        </p:scale>
        <p:origin x="60" y="2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E7F456E-01A6-4013-ACA5-F5492591A24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4983A3-9B9B-4D61-97C9-B9E239A315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6F32FC-4BD9-442A-A8C6-51598C909FE3}" type="datetimeFigureOut">
              <a:rPr lang="en-US" smtClean="0"/>
              <a:t>1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ABE74-7A97-4D17-8390-42ADD25C33C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2C1DBD-1052-425E-BF3C-983304BED57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EEFA9E-C190-4F5C-8394-BD5F1CD55C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8019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6371FA-A98D-41E8-93F4-09945841298A}" type="datetimeFigureOut">
              <a:rPr lang="en-US" smtClean="0"/>
              <a:t>11/3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289C57-55D7-40A4-A101-E74FAC7A09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902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16040" y="4434840"/>
            <a:ext cx="4941771" cy="1122202"/>
          </a:xfrm>
        </p:spPr>
        <p:txBody>
          <a:bodyPr anchor="b">
            <a:noAutofit/>
          </a:bodyPr>
          <a:lstStyle>
            <a:lvl1pPr algn="l">
              <a:defRPr sz="3600" spc="15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457758-A125-4CEA-A3D5-CBD010417B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6041" y="5586890"/>
            <a:ext cx="4941770" cy="396660"/>
          </a:xfrm>
        </p:spPr>
        <p:txBody>
          <a:bodyPr>
            <a:norm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4F1E16-9A84-4D0E-9706-79C396AF6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58" t="23650" b="-1"/>
          <a:stretch/>
        </p:blipFill>
        <p:spPr>
          <a:xfrm>
            <a:off x="0" y="0"/>
            <a:ext cx="9488312" cy="5054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826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86F69D-D4FA-4075-A7EC-8D31A184F6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2590800" cy="1027906"/>
            <a:chOff x="0" y="0"/>
            <a:chExt cx="2590800" cy="102790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6988B2D-0240-4256-8268-4B9FF1E7236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0" y="0"/>
              <a:ext cx="259080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8EEAAE1-3D04-41C3-B2D2-B3BEF34C3B2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704850" cy="102790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martArt Placeholder 6">
            <a:extLst>
              <a:ext uri="{FF2B5EF4-FFF2-40B4-BE49-F238E27FC236}">
                <a16:creationId xmlns:a16="http://schemas.microsoft.com/office/drawing/2014/main" id="{156CA116-0F6E-4EE9-B34F-03BA07161A7A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>
          <a:xfrm>
            <a:off x="838200" y="2111375"/>
            <a:ext cx="10515600" cy="3744913"/>
          </a:xfrm>
        </p:spPr>
        <p:txBody>
          <a:bodyPr/>
          <a:lstStyle/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085D26-FA83-4414-959E-98936A772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B52E93-DE4C-4341-8D83-F0230E38B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67230-4A0F-4B18-8BA9-C3B2FDD59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11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10">
            <a:extLst>
              <a:ext uri="{FF2B5EF4-FFF2-40B4-BE49-F238E27FC236}">
                <a16:creationId xmlns:a16="http://schemas.microsoft.com/office/drawing/2014/main" id="{9D2AF524-D4B4-4A3A-9CE4-EDAFE1D5A3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113884" y="0"/>
            <a:ext cx="10078116" cy="6858000"/>
          </a:xfrm>
          <a:custGeom>
            <a:avLst/>
            <a:gdLst>
              <a:gd name="connsiteX0" fmla="*/ 3793236 w 10078116"/>
              <a:gd name="connsiteY0" fmla="*/ 6858000 h 6858000"/>
              <a:gd name="connsiteX1" fmla="*/ 0 w 10078116"/>
              <a:gd name="connsiteY1" fmla="*/ 0 h 6858000"/>
              <a:gd name="connsiteX2" fmla="*/ 10078116 w 10078116"/>
              <a:gd name="connsiteY2" fmla="*/ 0 h 6858000"/>
              <a:gd name="connsiteX3" fmla="*/ 10078116 w 1007811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78116" h="6858000">
                <a:moveTo>
                  <a:pt x="3793236" y="6858000"/>
                </a:moveTo>
                <a:lnTo>
                  <a:pt x="0" y="0"/>
                </a:lnTo>
                <a:lnTo>
                  <a:pt x="10078116" y="0"/>
                </a:lnTo>
                <a:lnTo>
                  <a:pt x="10078116" y="6858000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3987A5-99A6-4B33-BAAF-531596353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509419"/>
            <a:ext cx="4082142" cy="585788"/>
          </a:xfrm>
        </p:spPr>
        <p:txBody>
          <a:bodyPr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BABF6CA-407C-4BF0-8234-1321A676E7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6074" y="1507772"/>
            <a:ext cx="2141764" cy="514350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76D8129B-5B68-421C-968C-3663C86EFC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2131" y="2584097"/>
            <a:ext cx="2141764" cy="514350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6C741DCA-8EBD-44F5-9D38-E938A628AD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38556" y="3660422"/>
            <a:ext cx="2141764" cy="514350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5C43C6B1-A1BD-4A90-8B4B-F361C1BEDD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22756" y="4736748"/>
            <a:ext cx="2141764" cy="514350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0C66E1BD-33F0-4B94-BF94-CD4698F85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1536" y="1613528"/>
            <a:ext cx="5102680" cy="101084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spc="50" baseline="0"/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2D4661B1-6559-407A-9AEC-A46A0570AE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6029" y="2682564"/>
            <a:ext cx="5102680" cy="101084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spc="50" baseline="0"/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DCC983F7-6A25-42C0-811C-EA32138C5B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76938" y="3755394"/>
            <a:ext cx="5102680" cy="101084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spc="50" baseline="0"/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E83DA0EB-27DD-416A-8DA5-4AFDC8587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5280" y="4824430"/>
            <a:ext cx="5102680" cy="101084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spc="50" baseline="0"/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4DC36F-5D3E-439D-80B5-32633FC34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rgbClr val="898989"/>
                </a:solidFill>
              </a:defRPr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710A8A-CEC9-4787-A745-C28DD965F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49143" y="6356350"/>
            <a:ext cx="3775981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62BD04-8F01-472A-9456-4702A2218B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10874" y="6356350"/>
            <a:ext cx="542925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3795F91-C721-4363-956D-756673AE7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3515" y="5023933"/>
            <a:ext cx="15132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AC14461-E27D-413D-B31A-47B74646AF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759917" y="3948451"/>
            <a:ext cx="15132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D6AEA4C-7710-4829-BA87-8DD77F1593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173453" y="2872686"/>
            <a:ext cx="15132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9BD473E-6203-491C-87AC-54AC0AB233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2586263" y="1796083"/>
            <a:ext cx="15132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52594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33700" y="892177"/>
            <a:ext cx="8421688" cy="1325563"/>
          </a:xfrm>
        </p:spPr>
        <p:txBody>
          <a:bodyPr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33700" y="2776936"/>
            <a:ext cx="3924300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9B20CF-6B91-4562-B799-0ABDAEBC0D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933700" y="3834606"/>
            <a:ext cx="3924300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74FC39-67F6-42EA-BCD1-F69AE2F0F22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410173" y="2776936"/>
            <a:ext cx="3943627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6EE64B-44BF-4634-97BC-5ED74C6DF2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410173" y="3834606"/>
            <a:ext cx="3943627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55C16C-AA88-4BBF-8040-11ECFED61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E24E1DB-1F20-4C28-8069-D9219D1F8B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9434" t="20278" b="22673"/>
          <a:stretch/>
        </p:blipFill>
        <p:spPr>
          <a:xfrm>
            <a:off x="25785" y="0"/>
            <a:ext cx="4368030" cy="391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4519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156" y="892177"/>
            <a:ext cx="8421688" cy="1325563"/>
          </a:xfrm>
        </p:spPr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243104" y="2776936"/>
            <a:ext cx="2882475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9B20CF-6B91-4562-B799-0ABDAEBC0D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43104" y="3834606"/>
            <a:ext cx="2882475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74FC39-67F6-42EA-BCD1-F69AE2F0F22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47665" y="2776936"/>
            <a:ext cx="2896671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6EE64B-44BF-4634-97BC-5ED74C6DF2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7665" y="3834606"/>
            <a:ext cx="2896671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60A771-8BBC-4565-AB09-402DA7CB278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066421" y="2776936"/>
            <a:ext cx="2882475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464A9BD-B815-4632-8F54-6EB70E48BAF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66421" y="3834606"/>
            <a:ext cx="2882475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55C16C-AA88-4BBF-8040-11ECFED61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2368EF4-1233-48C7-8DB5-75844BFCD5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2238376" cy="3105150"/>
            <a:chOff x="0" y="0"/>
            <a:chExt cx="2238376" cy="31051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63D7850-C2A6-43CE-BBE4-8E81A0A593B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1238250" cy="310515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BAD3E03-2E3B-440C-9105-6F9D33006D6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2238376" cy="24765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18896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3821F-4537-4AE7-8829-C2E3AE60F6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6875" y="1671639"/>
            <a:ext cx="5111750" cy="1204912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FD4279-EA62-4397-878A-73F4948DB1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76875" y="3660774"/>
            <a:ext cx="5111750" cy="15255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74AA03A-263D-4B5F-B05B-7D6923A9A4D3}"/>
              </a:ext>
            </a:extLst>
          </p:cNvPr>
          <p:cNvGrpSpPr/>
          <p:nvPr userDrawn="1"/>
        </p:nvGrpSpPr>
        <p:grpSpPr>
          <a:xfrm>
            <a:off x="0" y="0"/>
            <a:ext cx="4762501" cy="5186363"/>
            <a:chOff x="0" y="0"/>
            <a:chExt cx="4762501" cy="518636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87F08D6-2CA7-4A5A-BE34-07113DCA535D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0" y="876300"/>
              <a:ext cx="4762500" cy="162877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768C87F-B9C3-4DFF-8454-F3F52CE4346B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2638425" y="0"/>
              <a:ext cx="2124076" cy="518636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Date Placeholder 6">
            <a:extLst>
              <a:ext uri="{FF2B5EF4-FFF2-40B4-BE49-F238E27FC236}">
                <a16:creationId xmlns:a16="http://schemas.microsoft.com/office/drawing/2014/main" id="{71F34533-9677-48AF-9374-976825F4BB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22" name="Footer Placeholder 7">
            <a:extLst>
              <a:ext uri="{FF2B5EF4-FFF2-40B4-BE49-F238E27FC236}">
                <a16:creationId xmlns:a16="http://schemas.microsoft.com/office/drawing/2014/main" id="{4FAB8A26-B99E-4F96-8327-A932A14F2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4" name="Slide Number Placeholder 8">
            <a:extLst>
              <a:ext uri="{FF2B5EF4-FFF2-40B4-BE49-F238E27FC236}">
                <a16:creationId xmlns:a16="http://schemas.microsoft.com/office/drawing/2014/main" id="{EB0962D2-BCC3-48AB-A769-2A7327D29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78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67200" y="1615736"/>
            <a:ext cx="4179570" cy="1524735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457758-A125-4CEA-A3D5-CBD010417B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7200" y="3238103"/>
            <a:ext cx="4179570" cy="1371997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0" spc="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D3361C9-310A-4255-A94E-B77588962D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176938" cy="6858000"/>
          </a:xfrm>
          <a:prstGeom prst="rect">
            <a:avLst/>
          </a:prstGeom>
        </p:spPr>
      </p:pic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BF358517-D7B7-40D0-A9D0-B650C80898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67200" y="6356350"/>
            <a:ext cx="1774371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6026D44C-0B39-4DE1-A0FC-5615DDAAE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79721" y="6356350"/>
            <a:ext cx="2661557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0F8222B4-B618-42C4-8BDB-D2E4DF2F2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79428" y="6356350"/>
            <a:ext cx="1774371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40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514C6BF-376E-43E8-881D-2E76742699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8301" r="28341" b="23071"/>
          <a:stretch/>
        </p:blipFill>
        <p:spPr>
          <a:xfrm>
            <a:off x="5488815" y="0"/>
            <a:ext cx="670318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0A9B92-C2D0-466A-A680-A35832C452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500" y="1020445"/>
            <a:ext cx="2895600" cy="1325563"/>
          </a:xfrm>
        </p:spPr>
        <p:txBody>
          <a:bodyPr anchor="b">
            <a:normAutofit/>
          </a:bodyPr>
          <a:lstStyle>
            <a:lvl1pPr>
              <a:defRPr sz="28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41CE6-5A88-4C5C-B2A4-6A5D2153B1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3500" y="2924175"/>
            <a:ext cx="2895600" cy="2519363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9F5093-3C53-4152-B8FE-0522E07952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33500" y="6356350"/>
            <a:ext cx="985157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27F11D-8AF8-44D6-A48B-D8C7779B8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9886" y="6356349"/>
            <a:ext cx="2482842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8C0879-6B0F-4AF6-A997-EC61DA896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36305" y="6356350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124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3821F-4537-4AE7-8829-C2E3AE60F6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075" y="1671639"/>
            <a:ext cx="5111750" cy="1204912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FD4279-EA62-4397-878A-73F4948DB1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62075" y="3660774"/>
            <a:ext cx="5111750" cy="15255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11EBF9-6826-475B-8079-C11128991B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12192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B726A3-DF54-47D2-8C3A-34FD43A19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63800" y="6356350"/>
            <a:ext cx="34798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CD125A-4493-4967-9146-841D0EF3B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7A1CF8B-3479-49A3-A30E-2F2ECE962075}"/>
              </a:ext>
            </a:extLst>
          </p:cNvPr>
          <p:cNvGrpSpPr/>
          <p:nvPr userDrawn="1"/>
        </p:nvGrpSpPr>
        <p:grpSpPr>
          <a:xfrm>
            <a:off x="6953250" y="-25401"/>
            <a:ext cx="5238750" cy="6902451"/>
            <a:chOff x="6953250" y="-25401"/>
            <a:chExt cx="5238750" cy="6902451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9FBD260-5143-4B12-B9F8-33E48D548909}"/>
                </a:ext>
              </a:extLst>
            </p:cNvPr>
            <p:cNvCxnSpPr/>
            <p:nvPr userDrawn="1"/>
          </p:nvCxnSpPr>
          <p:spPr>
            <a:xfrm>
              <a:off x="9096375" y="1497012"/>
              <a:ext cx="309562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87F08D6-2CA7-4A5A-BE34-07113DCA535D}"/>
                </a:ext>
              </a:extLst>
            </p:cNvPr>
            <p:cNvCxnSpPr/>
            <p:nvPr userDrawn="1"/>
          </p:nvCxnSpPr>
          <p:spPr>
            <a:xfrm flipH="1">
              <a:off x="6953250" y="-25401"/>
              <a:ext cx="3790950" cy="690245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49735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Brea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1350" y="2148840"/>
            <a:ext cx="4179570" cy="1715531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457758-A125-4CEA-A3D5-CBD010417B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91350" y="3962003"/>
            <a:ext cx="4179570" cy="365125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05D2CCB-CCFC-4A8A-ADA9-C1E4D13B96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28675"/>
            <a:ext cx="5876925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512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085D26-FA83-4414-959E-98936A772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B52E93-DE4C-4341-8D83-F0230E38B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67230-4A0F-4B18-8BA9-C3B2FDD59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08AF2DB4-A973-4307-B59C-6058A138835C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838200" y="2111608"/>
            <a:ext cx="10515600" cy="3744912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2777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C3975522-461E-4D79-B5B9-BF9471B54688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838200" y="2111381"/>
            <a:ext cx="10515600" cy="37449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085D26-FA83-4414-959E-98936A772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B52E93-DE4C-4341-8D83-F0230E38B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67230-4A0F-4B18-8BA9-C3B2FDD59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680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EE644D4-F9A4-4237-BD5C-4B97ABA933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55816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FF67A8-55FA-435D-A18C-96D63D22B5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7724" y="2809875"/>
            <a:ext cx="6696075" cy="1909763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4828DA-5EC5-4A00-9A7B-CD9668EF24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57725" y="5028803"/>
            <a:ext cx="6696074" cy="365125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9303E9A-96BC-4283-A6E1-5948AEB119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76774" y="6356350"/>
            <a:ext cx="169545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A19C49-052B-4D3E-B227-1D787463C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43699" y="6356350"/>
            <a:ext cx="2543175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5E724A-95F0-41B6-A77E-EDD067272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58350" y="6356350"/>
            <a:ext cx="1695450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DAC7E4E-FE06-4E90-8107-6B543E551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 flipV="1">
            <a:off x="2209800" y="0"/>
            <a:ext cx="2438400" cy="685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30656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156" y="892177"/>
            <a:ext cx="8421688" cy="1325563"/>
          </a:xfrm>
        </p:spPr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0BDE76A-30A6-4268-9656-28A484C3DCC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87181" y="2886074"/>
            <a:ext cx="1845511" cy="184551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228568" y="5084524"/>
            <a:ext cx="2317707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14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02C0876-23F7-41FA-9AC9-721097D1A3C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487181" y="5464114"/>
            <a:ext cx="1845511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00" kern="1200" spc="15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C4CA5C9C-91D5-44B1-A82A-A49732B4691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36914" y="2886074"/>
            <a:ext cx="1845511" cy="184551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72D0301-10F1-41B4-BEF8-C53FA4D66214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578300" y="5084524"/>
            <a:ext cx="2330816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14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ADEB263-F204-4A78-A5E0-7361EFE0B92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3836913" y="5478796"/>
            <a:ext cx="1855949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00" kern="1200" spc="15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4EBC7D6F-397D-4C5A-AA62-F683F88531A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27578" y="2886074"/>
            <a:ext cx="1845511" cy="184551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1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767B9DE-7410-43CC-90CF-52D67EF03D4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068964" y="5084524"/>
            <a:ext cx="2317707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14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03678F5-B025-46E2-BD45-E7786148716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327577" y="5478796"/>
            <a:ext cx="1845511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00" kern="1200" spc="15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92E6B581-A522-4758-A9A4-8B9C7B860CF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47458" y="2886074"/>
            <a:ext cx="1845511" cy="184551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13DFE1F-4534-4828-990E-B052F51FC65C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488845" y="5084524"/>
            <a:ext cx="2317706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14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E3F385B-4DD9-4F3C-A02B-179B9FA61292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747458" y="5464114"/>
            <a:ext cx="184551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00" kern="1200" spc="15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55C16C-AA88-4BBF-8040-11ECFED61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3C911F2-9041-416A-B83C-F23B354E06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7334250" y="0"/>
            <a:ext cx="4857750" cy="1724025"/>
            <a:chOff x="7334250" y="0"/>
            <a:chExt cx="4857750" cy="1724025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B72DA-52CB-4D39-A342-8857B4D959B2}"/>
                </a:ext>
              </a:extLst>
            </p:cNvPr>
            <p:cNvCxnSpPr/>
            <p:nvPr userDrawn="1"/>
          </p:nvCxnSpPr>
          <p:spPr>
            <a:xfrm flipH="1" flipV="1">
              <a:off x="7334250" y="0"/>
              <a:ext cx="485775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1D9BCDA-DFB7-41A4-A7C7-CEE86CEDCB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487150" y="0"/>
              <a:ext cx="704850" cy="17240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51227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8 Peo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87AAB93-862D-455E-9E73-3D0DAEFDED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73953"/>
            <a:ext cx="12192000" cy="5621336"/>
            <a:chOff x="0" y="473953"/>
            <a:chExt cx="12192000" cy="562133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B0DFD584-E5CF-41EF-B51E-679CE22DDF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0" y="473953"/>
              <a:ext cx="2057400" cy="1647825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E5C02DDF-25A6-42C7-9525-F279CE2095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049000" y="5180889"/>
              <a:ext cx="1143000" cy="9144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156" y="892177"/>
            <a:ext cx="8421688" cy="1325563"/>
          </a:xfrm>
        </p:spPr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0BDE76A-30A6-4268-9656-28A484C3DCC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7176" y="2428875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00168" y="3654378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02C0876-23F7-41FA-9AC9-721097D1A3C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500168" y="3809747"/>
            <a:ext cx="1828800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C4CA5C9C-91D5-44B1-A82A-A49732B4691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26270" y="2428875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72D0301-10F1-41B4-BEF8-C53FA4D66214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49262" y="3654378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ADEB263-F204-4A78-A5E0-7361EFE0B92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3849262" y="3809747"/>
            <a:ext cx="1828800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1938DB4D-239F-4E8E-8802-0470B013118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655584" y="2428875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767B9DE-7410-43CC-90CF-52D67EF03D4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198355" y="3654378"/>
            <a:ext cx="2105135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03678F5-B025-46E2-BD45-E7786148716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095999" y="3809747"/>
            <a:ext cx="2299855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92E6B581-A522-4758-A9A4-8B9C7B860CF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36814" y="2428875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13DFE1F-4534-4828-990E-B052F51FC65C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759806" y="3654378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E3F385B-4DD9-4F3C-A02B-179B9FA61292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744480" y="3809747"/>
            <a:ext cx="1844126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5" name="Picture Placeholder 10">
            <a:extLst>
              <a:ext uri="{FF2B5EF4-FFF2-40B4-BE49-F238E27FC236}">
                <a16:creationId xmlns:a16="http://schemas.microsoft.com/office/drawing/2014/main" id="{1EBAEB1D-A7F9-4F90-B642-4277D3802BA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877176" y="4287711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22930C5B-603C-494E-A467-8B394D01D40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1500168" y="5513214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540C455F-A23B-493F-B95E-AB485D91DA6A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1500168" y="5668583"/>
            <a:ext cx="1828800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Picture Placeholder 10">
            <a:extLst>
              <a:ext uri="{FF2B5EF4-FFF2-40B4-BE49-F238E27FC236}">
                <a16:creationId xmlns:a16="http://schemas.microsoft.com/office/drawing/2014/main" id="{9461A69E-14C8-4325-89AF-D4257C1C05B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26270" y="4287711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D1C374C-DAF7-40EF-B279-4EC7A2AFE6A2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3849262" y="5513214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21FF438-E4E8-4643-BCB3-4A1C12429042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3849262" y="5668583"/>
            <a:ext cx="1828800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3" name="Picture Placeholder 10">
            <a:extLst>
              <a:ext uri="{FF2B5EF4-FFF2-40B4-BE49-F238E27FC236}">
                <a16:creationId xmlns:a16="http://schemas.microsoft.com/office/drawing/2014/main" id="{E029C5CA-EDDA-4BF9-9051-8B09E98EE1E2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655584" y="4287711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D4FEDD19-A7BA-45BB-93A0-F1E896C9F26D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6339926" y="5513214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12F0175-7AEE-46B1-9590-D4A427680DC7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6339926" y="5668583"/>
            <a:ext cx="1813474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8" name="Picture Placeholder 10">
            <a:extLst>
              <a:ext uri="{FF2B5EF4-FFF2-40B4-BE49-F238E27FC236}">
                <a16:creationId xmlns:a16="http://schemas.microsoft.com/office/drawing/2014/main" id="{622ED9F4-EB9B-4588-8501-BFECB846EE7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36814" y="4287711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026D39F-46AB-4680-9A52-F367344A3531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8759806" y="5513214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4E11FE2-6320-4E8C-A5B3-8104AF329ADA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8744480" y="5668583"/>
            <a:ext cx="1844126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55C16C-AA88-4BBF-8040-11ECFED61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rgbClr val="898989"/>
                </a:solidFill>
              </a:defRPr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rgbClr val="898989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898989"/>
                </a:solidFill>
              </a:defRPr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120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6A57353-F059-4437-AFE0-AF3D6755B9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23255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3" imgH="473" progId="TCLayout.ActiveDocument.1">
                  <p:embed/>
                </p:oleObj>
              </mc:Choice>
              <mc:Fallback>
                <p:oleObj name="think-cell Slide" r:id="rId1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4C17E5-24ED-44BC-BA50-02EF90355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33D101-3AF0-4F06-90ED-B83615C36C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AE9FDE-AF95-49F8-A927-35A23C9E65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E900D-8FF9-4E80-860D-89C2D3B4E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66A0C-1415-46A3-A1FF-BE18C70873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9DFD55-3C28-40EF-9E31-A92D2E4017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06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6" r:id="rId5"/>
    <p:sldLayoutId id="2147483667" r:id="rId6"/>
    <p:sldLayoutId id="2147483654" r:id="rId7"/>
    <p:sldLayoutId id="2147483663" r:id="rId8"/>
    <p:sldLayoutId id="2147483662" r:id="rId9"/>
    <p:sldLayoutId id="2147483668" r:id="rId10"/>
    <p:sldLayoutId id="2147483652" r:id="rId11"/>
    <p:sldLayoutId id="2147483653" r:id="rId12"/>
    <p:sldLayoutId id="2147483660" r:id="rId13"/>
    <p:sldLayoutId id="2147483664" r:id="rId14"/>
    <p:sldLayoutId id="2147483665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notraffic.tech/media-analysts/" TargetMode="External"/><Relationship Id="rId2" Type="http://schemas.openxmlformats.org/officeDocument/2006/relationships/hyperlink" Target="https://visme.co/blog/how-to-write-a-white-paper/" TargetMode="Externa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miovision.com/" TargetMode="External"/><Relationship Id="rId5" Type="http://schemas.openxmlformats.org/officeDocument/2006/relationships/hyperlink" Target="https://notraffic.tech/" TargetMode="External"/><Relationship Id="rId4" Type="http://schemas.openxmlformats.org/officeDocument/2006/relationships/hyperlink" Target="https://www.ept.ca/2020/02/miovision-attracts-120-million-of-investor-funding/miovision-logo/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75451-6A4B-484B-9ED1-353CCE25B0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6041" y="4115244"/>
            <a:ext cx="5346873" cy="1122202"/>
          </a:xfrm>
        </p:spPr>
        <p:txBody>
          <a:bodyPr/>
          <a:lstStyle/>
          <a:p>
            <a:r>
              <a:rPr lang="en-US" dirty="0">
                <a:cs typeface="Times New Roman" panose="02020603050405020304" pitchFamily="18" charset="0"/>
              </a:rPr>
              <a:t>Smart Traffic Vendor Proje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36A1B4-B8D1-4A72-8E20-0703F54BF1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6041" y="5320558"/>
            <a:ext cx="4929621" cy="920444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latin typeface="+mj-lt"/>
                <a:cs typeface="Times New Roman" panose="02020603050405020304" pitchFamily="18" charset="0"/>
              </a:rPr>
              <a:t>Yashaswi Ranga Sivaraju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Arizona State University 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Robotics and Autonomous Systems</a:t>
            </a:r>
          </a:p>
          <a:p>
            <a:endParaRPr lang="en-US" dirty="0"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60588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8F316-6C38-028A-8500-8DE988EB0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5156" y="293837"/>
            <a:ext cx="8421688" cy="1325563"/>
          </a:xfrm>
        </p:spPr>
        <p:txBody>
          <a:bodyPr/>
          <a:lstStyle/>
          <a:p>
            <a:r>
              <a:rPr lang="en-US" dirty="0"/>
              <a:t>Notraffic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81F0854-356B-77CE-5CE7-6410A446403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2613953" y="4261387"/>
            <a:ext cx="2152042" cy="474623"/>
          </a:xfrm>
        </p:spPr>
        <p:txBody>
          <a:bodyPr/>
          <a:lstStyle/>
          <a:p>
            <a:r>
              <a:rPr lang="en-US" sz="1100" dirty="0"/>
              <a:t>No Traffic Apps Engin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3FEA9EB-BB59-D5EE-8A91-F2B2D418AAB3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8362026" y="4261388"/>
            <a:ext cx="2152042" cy="474623"/>
          </a:xfrm>
        </p:spPr>
        <p:txBody>
          <a:bodyPr/>
          <a:lstStyle/>
          <a:p>
            <a:r>
              <a:rPr lang="en-US" sz="1100" dirty="0"/>
              <a:t>Plug &amp; Play Sensors</a:t>
            </a:r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E82D1670-BDF8-7D67-FBC0-8A2A52DED3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BD716437-2561-5C95-17CF-28FD84EEC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mart Traffic Vendor Project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2561456A-CFA5-18B9-3E61-48547576E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DFD55-3C28-40EF-9E31-A92D2E4017FF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41" name="Picture 40" descr="A picture containing dark, mouse">
            <a:extLst>
              <a:ext uri="{FF2B5EF4-FFF2-40B4-BE49-F238E27FC236}">
                <a16:creationId xmlns:a16="http://schemas.microsoft.com/office/drawing/2014/main" id="{F562CC24-5572-EA27-5C46-AC84C1CABC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0300" y="2240985"/>
            <a:ext cx="3768212" cy="2020403"/>
          </a:xfrm>
          <a:prstGeom prst="rect">
            <a:avLst/>
          </a:prstGeom>
        </p:spPr>
      </p:pic>
      <p:pic>
        <p:nvPicPr>
          <p:cNvPr id="46" name="Picture 45" descr="A close-up of a cell phone&#10;&#10;Description automatically generated with low confidence">
            <a:extLst>
              <a:ext uri="{FF2B5EF4-FFF2-40B4-BE49-F238E27FC236}">
                <a16:creationId xmlns:a16="http://schemas.microsoft.com/office/drawing/2014/main" id="{E1BAC087-BE99-8A9B-AD96-BDE5A1AF6A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9214" y="2451038"/>
            <a:ext cx="3894206" cy="1810350"/>
          </a:xfrm>
          <a:prstGeom prst="rect">
            <a:avLst/>
          </a:prstGeom>
        </p:spPr>
      </p:pic>
      <p:graphicFrame>
        <p:nvGraphicFramePr>
          <p:cNvPr id="4" name="Table 8">
            <a:extLst>
              <a:ext uri="{FF2B5EF4-FFF2-40B4-BE49-F238E27FC236}">
                <a16:creationId xmlns:a16="http://schemas.microsoft.com/office/drawing/2014/main" id="{6F1DA18B-701E-B25D-A8A3-49A1F69663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029971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1852553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303283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238703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93416">
                  <a:extLst>
                    <a:ext uri="{9D8B030D-6E8A-4147-A177-3AD203B41FA5}">
                      <a16:colId xmlns:a16="http://schemas.microsoft.com/office/drawing/2014/main" val="1568820529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2702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37E1AD8E-29D0-12E5-C572-0B890FDDB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F9779687-F605-8673-26D0-A434AB315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mart Traffic Vendor Project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6A82F932-5067-7E28-D67E-66C84B2BC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DFD55-3C28-40EF-9E31-A92D2E4017FF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31" name="Picture 30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DFFFA50F-800A-114B-5C37-BFF5291416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26" y="136525"/>
            <a:ext cx="12178074" cy="6161102"/>
          </a:xfrm>
          <a:prstGeom prst="rect">
            <a:avLst/>
          </a:prstGeom>
        </p:spPr>
      </p:pic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9FE4CC55-3663-B792-9774-1603DE23A6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029971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1852553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303283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238703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93416">
                  <a:extLst>
                    <a:ext uri="{9D8B030D-6E8A-4147-A177-3AD203B41FA5}">
                      <a16:colId xmlns:a16="http://schemas.microsoft.com/office/drawing/2014/main" val="1568820529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79866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68BD42-6783-4820-B797-830B460FB4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4153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140014-73D5-419B-8867-972BB18D5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3699" y="892177"/>
            <a:ext cx="3924299" cy="1325563"/>
          </a:xfrm>
        </p:spPr>
        <p:txBody>
          <a:bodyPr vert="horz"/>
          <a:lstStyle/>
          <a:p>
            <a:r>
              <a:rPr lang="en-US" sz="2800" dirty="0">
                <a:latin typeface="+mj-lt"/>
                <a:cs typeface="Times New Roman" panose="02020603050405020304" pitchFamily="18" charset="0"/>
              </a:rPr>
              <a:t>CHALLENG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D8731E-4977-402E-8BFD-895B4D0544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933699" y="2903529"/>
            <a:ext cx="6503263" cy="2423073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endor unavailability lack of proper communication from the vendo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cost of device procure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costs to use the services of the vend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A46C4A-D036-4440-BB64-6754F4FF27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5F172A-5D5D-43CD-A187-DA0D303F4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Smart Traffic Vendor Projec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96FFDC-ADE8-4009-A466-A81787258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3D99F7C5-2CC9-E9F3-1241-76E4A2EA99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389120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10208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702676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517169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014307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72395">
                  <a:extLst>
                    <a:ext uri="{9D8B030D-6E8A-4147-A177-3AD203B41FA5}">
                      <a16:colId xmlns:a16="http://schemas.microsoft.com/office/drawing/2014/main" val="2369620113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37801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04D65127-C412-C9B1-124F-3184D1BCC7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5733" y="316057"/>
            <a:ext cx="8517156" cy="1246413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6B0DCBA2-C618-0AEF-A004-123B259142BF}"/>
              </a:ext>
            </a:extLst>
          </p:cNvPr>
          <p:cNvSpPr txBox="1"/>
          <p:nvPr/>
        </p:nvSpPr>
        <p:spPr>
          <a:xfrm>
            <a:off x="2317344" y="2155509"/>
            <a:ext cx="7661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apital Expenditure (CapEx):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722E2FDA-27DE-5021-A4F3-D42C5DE7C5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682993"/>
              </p:ext>
            </p:extLst>
          </p:nvPr>
        </p:nvGraphicFramePr>
        <p:xfrm>
          <a:off x="2200835" y="2590973"/>
          <a:ext cx="8856048" cy="3583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4012">
                  <a:extLst>
                    <a:ext uri="{9D8B030D-6E8A-4147-A177-3AD203B41FA5}">
                      <a16:colId xmlns:a16="http://schemas.microsoft.com/office/drawing/2014/main" val="1821814654"/>
                    </a:ext>
                  </a:extLst>
                </a:gridCol>
                <a:gridCol w="2214012">
                  <a:extLst>
                    <a:ext uri="{9D8B030D-6E8A-4147-A177-3AD203B41FA5}">
                      <a16:colId xmlns:a16="http://schemas.microsoft.com/office/drawing/2014/main" val="448916639"/>
                    </a:ext>
                  </a:extLst>
                </a:gridCol>
                <a:gridCol w="2214012">
                  <a:extLst>
                    <a:ext uri="{9D8B030D-6E8A-4147-A177-3AD203B41FA5}">
                      <a16:colId xmlns:a16="http://schemas.microsoft.com/office/drawing/2014/main" val="3896224603"/>
                    </a:ext>
                  </a:extLst>
                </a:gridCol>
                <a:gridCol w="2214012">
                  <a:extLst>
                    <a:ext uri="{9D8B030D-6E8A-4147-A177-3AD203B41FA5}">
                      <a16:colId xmlns:a16="http://schemas.microsoft.com/office/drawing/2014/main" val="34980411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cription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t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387058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ovision Scout Connect Video Collection Uni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,000.00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0,000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507695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out Video Control Uni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d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948656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out Polemoun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d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751213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out Connect Shipping &amp; Handling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d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141499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ipping &amp; Handling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00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57437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total (Net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D 10,000.00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0309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x Total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912458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D 10,000.00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99349289"/>
                  </a:ext>
                </a:extLst>
              </a:tr>
            </a:tbl>
          </a:graphicData>
        </a:graphic>
      </p:graphicFrame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C2D503AD-1828-0AD9-9AE5-A4CB0E7D35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556195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598939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91558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734207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548700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035328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51374">
                  <a:extLst>
                    <a:ext uri="{9D8B030D-6E8A-4147-A177-3AD203B41FA5}">
                      <a16:colId xmlns:a16="http://schemas.microsoft.com/office/drawing/2014/main" val="3306798605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94294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>
            <a:extLst>
              <a:ext uri="{FF2B5EF4-FFF2-40B4-BE49-F238E27FC236}">
                <a16:creationId xmlns:a16="http://schemas.microsoft.com/office/drawing/2014/main" id="{6B0DCBA2-C618-0AEF-A004-123B259142BF}"/>
              </a:ext>
            </a:extLst>
          </p:cNvPr>
          <p:cNvSpPr txBox="1"/>
          <p:nvPr/>
        </p:nvSpPr>
        <p:spPr>
          <a:xfrm>
            <a:off x="2265285" y="442118"/>
            <a:ext cx="7661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Operational Expenditure (OpEx):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E09442E3-0C46-A718-97F1-2D1CE6E33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0453768"/>
              </p:ext>
            </p:extLst>
          </p:nvPr>
        </p:nvGraphicFramePr>
        <p:xfrm>
          <a:off x="1455939" y="1210945"/>
          <a:ext cx="10502282" cy="48208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07102">
                  <a:extLst>
                    <a:ext uri="{9D8B030D-6E8A-4147-A177-3AD203B41FA5}">
                      <a16:colId xmlns:a16="http://schemas.microsoft.com/office/drawing/2014/main" val="1050190416"/>
                    </a:ext>
                  </a:extLst>
                </a:gridCol>
                <a:gridCol w="4695180">
                  <a:extLst>
                    <a:ext uri="{9D8B030D-6E8A-4147-A177-3AD203B41FA5}">
                      <a16:colId xmlns:a16="http://schemas.microsoft.com/office/drawing/2014/main" val="3962044971"/>
                    </a:ext>
                  </a:extLst>
                </a:gridCol>
              </a:tblGrid>
              <a:tr h="28697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cription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t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55149873"/>
                  </a:ext>
                </a:extLst>
              </a:tr>
              <a:tr h="45459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section Count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1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044012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section Count with Premium class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4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7203928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ght Goods Vehicle - Intersection Counts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26019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osswalk Data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916015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section Count 24+ Hour Study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6.67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13549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section Count 24+ Hour Study with Premium Class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8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886484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vel Time Report Generation (1-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5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770413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vel Time Report Generation (24-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2.5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0605067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ad Volume Count (1 lane-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12584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ad Volume Count with Premium Class (1 lane-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225687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ght Goods Vehicle - Road Volume Counts (1 lane-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25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366193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Roundabout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6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487833442"/>
                  </a:ext>
                </a:extLst>
              </a:tr>
            </a:tbl>
          </a:graphicData>
        </a:graphic>
      </p:graphicFrame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063A0D8A-ECD6-13B0-DDE7-C9C2047E7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958030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598939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91558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734207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548700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035328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51374">
                  <a:extLst>
                    <a:ext uri="{9D8B030D-6E8A-4147-A177-3AD203B41FA5}">
                      <a16:colId xmlns:a16="http://schemas.microsoft.com/office/drawing/2014/main" val="3306798605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13604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>
            <a:extLst>
              <a:ext uri="{FF2B5EF4-FFF2-40B4-BE49-F238E27FC236}">
                <a16:creationId xmlns:a16="http://schemas.microsoft.com/office/drawing/2014/main" id="{6B0DCBA2-C618-0AEF-A004-123B259142BF}"/>
              </a:ext>
            </a:extLst>
          </p:cNvPr>
          <p:cNvSpPr txBox="1"/>
          <p:nvPr/>
        </p:nvSpPr>
        <p:spPr>
          <a:xfrm>
            <a:off x="2265285" y="442118"/>
            <a:ext cx="7661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Operational Expenditure (OpEx) - Continuation: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2A51274-3162-2930-6F34-D8361F1D66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1314581"/>
              </p:ext>
            </p:extLst>
          </p:nvPr>
        </p:nvGraphicFramePr>
        <p:xfrm>
          <a:off x="1468514" y="2828801"/>
          <a:ext cx="10502282" cy="2444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07102">
                  <a:extLst>
                    <a:ext uri="{9D8B030D-6E8A-4147-A177-3AD203B41FA5}">
                      <a16:colId xmlns:a16="http://schemas.microsoft.com/office/drawing/2014/main" val="1372111572"/>
                    </a:ext>
                  </a:extLst>
                </a:gridCol>
                <a:gridCol w="4695180">
                  <a:extLst>
                    <a:ext uri="{9D8B030D-6E8A-4147-A177-3AD203B41FA5}">
                      <a16:colId xmlns:a16="http://schemas.microsoft.com/office/drawing/2014/main" val="299018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ght Goods Vehicle - Roundabout Counts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716752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hway Volume (1 lane-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7714549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ction Count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8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760949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section Right Turn On Red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55874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sh Turnaround -48 Hours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24434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sh Turnaround - 24 Hours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416106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47759235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8864509-AF09-BFF9-6CF1-ED50CE4A3D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3356490"/>
              </p:ext>
            </p:extLst>
          </p:nvPr>
        </p:nvGraphicFramePr>
        <p:xfrm>
          <a:off x="1468514" y="1716281"/>
          <a:ext cx="1050228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07102">
                  <a:extLst>
                    <a:ext uri="{9D8B030D-6E8A-4147-A177-3AD203B41FA5}">
                      <a16:colId xmlns:a16="http://schemas.microsoft.com/office/drawing/2014/main" val="1374957138"/>
                    </a:ext>
                  </a:extLst>
                </a:gridCol>
                <a:gridCol w="4695180">
                  <a:extLst>
                    <a:ext uri="{9D8B030D-6E8A-4147-A177-3AD203B41FA5}">
                      <a16:colId xmlns:a16="http://schemas.microsoft.com/office/drawing/2014/main" val="98351266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Roundabout with Premium Class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9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979405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Roundabout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6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012737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e Roundabout with Premium Class (1 Hou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9.00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18757152"/>
                  </a:ext>
                </a:extLst>
              </a:tr>
            </a:tbl>
          </a:graphicData>
        </a:graphic>
      </p:graphicFrame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60888FEA-35B7-9317-9E50-18709D2249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958030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598939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91558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734207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548700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035328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51374">
                  <a:extLst>
                    <a:ext uri="{9D8B030D-6E8A-4147-A177-3AD203B41FA5}">
                      <a16:colId xmlns:a16="http://schemas.microsoft.com/office/drawing/2014/main" val="3306798605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09519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40014-73D5-419B-8867-972BB18D5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3699" y="892177"/>
            <a:ext cx="6618674" cy="1325563"/>
          </a:xfrm>
        </p:spPr>
        <p:txBody>
          <a:bodyPr/>
          <a:lstStyle/>
          <a:p>
            <a:r>
              <a:rPr lang="en-US" sz="2800" dirty="0">
                <a:latin typeface="+mj-lt"/>
                <a:cs typeface="Times New Roman" panose="02020603050405020304" pitchFamily="18" charset="0"/>
              </a:rPr>
              <a:t>Learnings and Contribu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D8731E-4977-402E-8BFD-895B4D0544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933699" y="2903529"/>
            <a:ext cx="6503263" cy="3817946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 was able to contact FDOT officials about smart traffic and learn about the rules that vendors' devices must comply with to be installed in intersections and freeway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 was able to gain insight into the future of smart traffic systems and how it is expected to evol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tting a good understanding of the device's software and hardware requirement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A46C4A-D036-4440-BB64-6754F4FF27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5F172A-5D5D-43CD-A187-DA0D303F4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Smart Traffic Vendor Projec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96FFDC-ADE8-4009-A466-A81787258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6</a:t>
            </a:fld>
            <a:endParaRPr lang="en-US" dirty="0"/>
          </a:p>
        </p:txBody>
      </p:sp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B5511715-A1FE-2D15-CF4F-ABD60FA3F4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0944813"/>
              </p:ext>
            </p:extLst>
          </p:nvPr>
        </p:nvGraphicFramePr>
        <p:xfrm>
          <a:off x="0" y="-19052"/>
          <a:ext cx="12203454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2033909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2033909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33909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2033909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2033909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033909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74B3D8FD-5CA5-1696-A185-28A4510313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1667181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598939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91558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734207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548700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035328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51374">
                  <a:extLst>
                    <a:ext uri="{9D8B030D-6E8A-4147-A177-3AD203B41FA5}">
                      <a16:colId xmlns:a16="http://schemas.microsoft.com/office/drawing/2014/main" val="3306798605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84693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8FC28-E0BD-4387-B8BE-9965D1A5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6875" y="504873"/>
            <a:ext cx="5111750" cy="1204912"/>
          </a:xfrm>
        </p:spPr>
        <p:txBody>
          <a:bodyPr/>
          <a:lstStyle/>
          <a:p>
            <a:r>
              <a:rPr lang="en-US" dirty="0"/>
              <a:t>Sources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D19BCA-B61F-4EA6-A1FB-CCA3BD8506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76875" y="2231469"/>
            <a:ext cx="5111750" cy="3698814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visme.co/blog/how-to-write-a-white-paper/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https://notraffic.tech/media-analysts/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https://www.ept.ca/2020/02/miovision-attracts-120-million-of-investor-funding/miovision-logo/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5"/>
              </a:rPr>
              <a:t>https://notraffic.tech/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6"/>
              </a:rPr>
              <a:t>https://miovision.com/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560550-EE65-43CE-B899-F421E74287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35E32A-1A8C-43D2-9C6E-12887B4DE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4B8313-9270-4128-8674-3A3E42B80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D2F2286E-DF90-9A90-0065-FADFA3CD63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020945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598939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91558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734207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548700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035328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51374">
                  <a:extLst>
                    <a:ext uri="{9D8B030D-6E8A-4147-A177-3AD203B41FA5}">
                      <a16:colId xmlns:a16="http://schemas.microsoft.com/office/drawing/2014/main" val="3306798605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28616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F1EDE-5423-435C-B149-87AB1BC22B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9803" y="2729888"/>
            <a:ext cx="4148831" cy="699112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7C7382-18E7-4821-8C61-461D6BBE08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67200" y="6356350"/>
            <a:ext cx="1774371" cy="365125"/>
          </a:xfrm>
        </p:spPr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90FA1B-5022-47AB-A0AE-8F5C57979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79721" y="6356350"/>
            <a:ext cx="2661557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27D99-645F-4FCF-9573-FDFE2A344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79428" y="6356350"/>
            <a:ext cx="1774371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7875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B8DF90-6E84-4D20-7434-A327FCB90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y Questions 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1C5B4A-FA57-C3B1-459B-AE56D36E6C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1043FE-9836-02B8-884B-338D056AC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mart Traffic Vendor Projec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7848C1-24BD-5E20-8656-7547ACFE9D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DFD55-3C28-40EF-9E31-A92D2E4017F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344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F5859-10C9-4588-9727-B9362E26C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0" y="612073"/>
            <a:ext cx="2895600" cy="1325563"/>
          </a:xfrm>
        </p:spPr>
        <p:txBody>
          <a:bodyPr/>
          <a:lstStyle/>
          <a:p>
            <a:r>
              <a:rPr lang="en-US" dirty="0">
                <a:cs typeface="Times New Roman" panose="02020603050405020304" pitchFamily="18" charset="0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71D7E5-EF66-4BCD-8DAA-E9061157F0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3500" y="2324995"/>
            <a:ext cx="2895600" cy="4031354"/>
          </a:xfrm>
        </p:spPr>
        <p:txBody>
          <a:bodyPr>
            <a:normAutofit/>
          </a:bodyPr>
          <a:lstStyle/>
          <a:p>
            <a:r>
              <a:rPr lang="en-US" sz="1600" dirty="0">
                <a:latin typeface="+mj-lt"/>
                <a:cs typeface="Times New Roman" panose="02020603050405020304" pitchFamily="18" charset="0"/>
              </a:rPr>
              <a:t>Introduction</a:t>
            </a:r>
          </a:p>
          <a:p>
            <a:r>
              <a:rPr lang="en-US" sz="1600" dirty="0">
                <a:latin typeface="+mj-lt"/>
                <a:cs typeface="Times New Roman" panose="02020603050405020304" pitchFamily="18" charset="0"/>
              </a:rPr>
              <a:t>Estimated Schedule</a:t>
            </a:r>
          </a:p>
          <a:p>
            <a:r>
              <a:rPr lang="en-US" sz="1600" dirty="0">
                <a:latin typeface="+mj-lt"/>
                <a:cs typeface="Times New Roman" panose="02020603050405020304" pitchFamily="18" charset="0"/>
              </a:rPr>
              <a:t>Updates &amp; Current Stage</a:t>
            </a:r>
          </a:p>
          <a:p>
            <a:r>
              <a:rPr lang="en-US" sz="1600" dirty="0">
                <a:latin typeface="+mj-lt"/>
                <a:cs typeface="Times New Roman" panose="02020603050405020304" pitchFamily="18" charset="0"/>
              </a:rPr>
              <a:t>Information Gathered</a:t>
            </a:r>
          </a:p>
          <a:p>
            <a:r>
              <a:rPr lang="en-US" sz="1600" dirty="0">
                <a:latin typeface="+mj-lt"/>
                <a:cs typeface="Times New Roman" panose="02020603050405020304" pitchFamily="18" charset="0"/>
              </a:rPr>
              <a:t>Challenges</a:t>
            </a:r>
          </a:p>
          <a:p>
            <a:r>
              <a:rPr lang="en-US" sz="1600" dirty="0">
                <a:latin typeface="+mj-lt"/>
                <a:cs typeface="Times New Roman" panose="02020603050405020304" pitchFamily="18" charset="0"/>
              </a:rPr>
              <a:t>Learnings and Contributions</a:t>
            </a:r>
          </a:p>
          <a:p>
            <a:r>
              <a:rPr lang="en-US" sz="1600" dirty="0">
                <a:latin typeface="+mj-lt"/>
                <a:cs typeface="Times New Roman" panose="02020603050405020304" pitchFamily="18" charset="0"/>
              </a:rPr>
              <a:t>Sources		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B5BAF8-EA80-4AD4-8D83-5960C29957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33500" y="6356350"/>
            <a:ext cx="985157" cy="365125"/>
          </a:xfrm>
        </p:spPr>
        <p:txBody>
          <a:bodyPr/>
          <a:lstStyle/>
          <a:p>
            <a:r>
              <a:rPr lang="en-US" dirty="0">
                <a:latin typeface="+mj-lt"/>
                <a:cs typeface="Times New Roman" panose="02020603050405020304" pitchFamily="18" charset="0"/>
              </a:rPr>
              <a:t>202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C19884-873C-4D13-BE6D-318CF07B0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9886" y="6356349"/>
            <a:ext cx="2482842" cy="365125"/>
          </a:xfrm>
        </p:spPr>
        <p:txBody>
          <a:bodyPr/>
          <a:lstStyle/>
          <a:p>
            <a:r>
              <a:rPr lang="en-US" dirty="0">
                <a:latin typeface="+mj-lt"/>
                <a:cs typeface="Times New Roman" panose="02020603050405020304" pitchFamily="18" charset="0"/>
              </a:rPr>
              <a:t>Smart Traffic Vendor Projec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91F00-87A7-45A6-8029-B097FA724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36305" y="6356350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>
                <a:latin typeface="+mj-lt"/>
                <a:cs typeface="Times New Roman" panose="02020603050405020304" pitchFamily="18" charset="0"/>
              </a:rPr>
              <a:pPr/>
              <a:t>2</a:t>
            </a:fld>
            <a:endParaRPr lang="en-US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BAA131-4C5B-42A6-8420-D189E72465A0}"/>
              </a:ext>
            </a:extLst>
          </p:cNvPr>
          <p:cNvSpPr/>
          <p:nvPr/>
        </p:nvSpPr>
        <p:spPr>
          <a:xfrm>
            <a:off x="1402672" y="2108456"/>
            <a:ext cx="1669002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2195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073DC4-6ED2-C39E-22E3-694219BC6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5D143C-5027-BFEB-DCF9-81BA61B27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mart Traffic Vendor Projec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EABE1D-405B-B1E5-2D55-7A23CFDB7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DFD55-3C28-40EF-9E31-A92D2E4017FF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8" name="Picture 7" descr="Qr code">
            <a:extLst>
              <a:ext uri="{FF2B5EF4-FFF2-40B4-BE49-F238E27FC236}">
                <a16:creationId xmlns:a16="http://schemas.microsoft.com/office/drawing/2014/main" id="{38BEEDA2-0F67-39ED-45D8-4775A2538C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0055" y="1028422"/>
            <a:ext cx="4286250" cy="428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574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32731C-311B-46F7-A865-6C3AF6B09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075" y="671074"/>
            <a:ext cx="5111750" cy="640741"/>
          </a:xfrm>
        </p:spPr>
        <p:txBody>
          <a:bodyPr/>
          <a:lstStyle/>
          <a:p>
            <a:r>
              <a:rPr lang="en-US" dirty="0">
                <a:cs typeface="Times New Roman" panose="02020603050405020304" pitchFamily="18" charset="0"/>
              </a:rPr>
              <a:t>INTRODU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5232F9-FD00-464A-9F17-619C91AEF8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62075" y="1372766"/>
            <a:ext cx="3547276" cy="476221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+mj-lt"/>
                <a:cs typeface="Times New Roman" panose="02020603050405020304" pitchFamily="18" charset="0"/>
              </a:rPr>
              <a:t>About the Projec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E12647-CCB2-45E2-A9CB-A868F49049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1219200" cy="365125"/>
          </a:xfrm>
        </p:spPr>
        <p:txBody>
          <a:bodyPr/>
          <a:lstStyle/>
          <a:p>
            <a:r>
              <a:rPr lang="en-US" dirty="0">
                <a:latin typeface="+mj-lt"/>
                <a:cs typeface="Times New Roman" panose="02020603050405020304" pitchFamily="18" charset="0"/>
              </a:rPr>
              <a:t>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51ED20-04D4-4894-B0C2-9C541A61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63800" y="6356350"/>
            <a:ext cx="3479800" cy="365125"/>
          </a:xfrm>
        </p:spPr>
        <p:txBody>
          <a:bodyPr/>
          <a:lstStyle/>
          <a:p>
            <a:r>
              <a:rPr lang="en-US" dirty="0">
                <a:latin typeface="+mj-lt"/>
                <a:cs typeface="Times New Roman" panose="02020603050405020304" pitchFamily="18" charset="0"/>
              </a:rPr>
              <a:t>Smart Traffic Vendor Projec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C1787E-7110-4989-B0B8-DD4E0ACC0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>
                <a:latin typeface="+mj-lt"/>
                <a:cs typeface="Times New Roman" panose="02020603050405020304" pitchFamily="18" charset="0"/>
              </a:rPr>
              <a:pPr/>
              <a:t>3</a:t>
            </a:fld>
            <a:endParaRPr lang="en-US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9" name="Google Shape;3002;p83">
            <a:extLst>
              <a:ext uri="{FF2B5EF4-FFF2-40B4-BE49-F238E27FC236}">
                <a16:creationId xmlns:a16="http://schemas.microsoft.com/office/drawing/2014/main" id="{90314F34-2A72-42DD-B787-6DFAB3AADCA2}"/>
              </a:ext>
            </a:extLst>
          </p:cNvPr>
          <p:cNvSpPr/>
          <p:nvPr/>
        </p:nvSpPr>
        <p:spPr>
          <a:xfrm>
            <a:off x="5761016" y="4073381"/>
            <a:ext cx="1802755" cy="1391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30775" tIns="45700" rIns="30775" bIns="4570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Vendors adhering to FDOT rules </a:t>
            </a:r>
          </a:p>
        </p:txBody>
      </p:sp>
      <p:cxnSp>
        <p:nvCxnSpPr>
          <p:cNvPr id="20" name="Google Shape;3011;p83">
            <a:extLst>
              <a:ext uri="{FF2B5EF4-FFF2-40B4-BE49-F238E27FC236}">
                <a16:creationId xmlns:a16="http://schemas.microsoft.com/office/drawing/2014/main" id="{FB97B1AA-ED2A-40F3-A3BE-B67C3681CC19}"/>
              </a:ext>
            </a:extLst>
          </p:cNvPr>
          <p:cNvCxnSpPr>
            <a:cxnSpLocks/>
          </p:cNvCxnSpPr>
          <p:nvPr/>
        </p:nvCxnSpPr>
        <p:spPr>
          <a:xfrm>
            <a:off x="1039918" y="2401982"/>
            <a:ext cx="6327564" cy="0"/>
          </a:xfrm>
          <a:prstGeom prst="straightConnector1">
            <a:avLst/>
          </a:prstGeom>
          <a:noFill/>
          <a:ln w="38100" cap="flat" cmpd="sng">
            <a:solidFill>
              <a:schemeClr val="tx1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27" name="Google Shape;3022;p83">
            <a:extLst>
              <a:ext uri="{FF2B5EF4-FFF2-40B4-BE49-F238E27FC236}">
                <a16:creationId xmlns:a16="http://schemas.microsoft.com/office/drawing/2014/main" id="{FF8CB675-7415-4D56-A5B3-051B2521043A}"/>
              </a:ext>
            </a:extLst>
          </p:cNvPr>
          <p:cNvSpPr/>
          <p:nvPr/>
        </p:nvSpPr>
        <p:spPr>
          <a:xfrm>
            <a:off x="5674823" y="4010201"/>
            <a:ext cx="1979722" cy="1510044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6175" tIns="30775" rIns="30775" bIns="30775" anchor="t" anchorCtr="0">
            <a:noAutofit/>
          </a:bodyPr>
          <a:lstStyle/>
          <a:p>
            <a:pPr marL="70582" marR="0" lvl="0" indent="-70582" algn="l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3" name="Google Shape;3024;p83">
            <a:extLst>
              <a:ext uri="{FF2B5EF4-FFF2-40B4-BE49-F238E27FC236}">
                <a16:creationId xmlns:a16="http://schemas.microsoft.com/office/drawing/2014/main" id="{911068A9-428D-4619-8E60-865A85F6C414}"/>
              </a:ext>
            </a:extLst>
          </p:cNvPr>
          <p:cNvCxnSpPr>
            <a:cxnSpLocks/>
            <a:stCxn id="34" idx="4"/>
            <a:endCxn id="27" idx="0"/>
          </p:cNvCxnSpPr>
          <p:nvPr/>
        </p:nvCxnSpPr>
        <p:spPr>
          <a:xfrm>
            <a:off x="6664684" y="2488612"/>
            <a:ext cx="0" cy="1521589"/>
          </a:xfrm>
          <a:prstGeom prst="straightConnector1">
            <a:avLst/>
          </a:prstGeom>
          <a:noFill/>
          <a:ln w="12700" cap="sq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34" name="Google Shape;3025;p83">
            <a:extLst>
              <a:ext uri="{FF2B5EF4-FFF2-40B4-BE49-F238E27FC236}">
                <a16:creationId xmlns:a16="http://schemas.microsoft.com/office/drawing/2014/main" id="{ACBCF23A-1E62-4848-811C-40D79838A08A}"/>
              </a:ext>
            </a:extLst>
          </p:cNvPr>
          <p:cNvSpPr/>
          <p:nvPr/>
        </p:nvSpPr>
        <p:spPr>
          <a:xfrm>
            <a:off x="6578051" y="2315347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002;p83">
            <a:extLst>
              <a:ext uri="{FF2B5EF4-FFF2-40B4-BE49-F238E27FC236}">
                <a16:creationId xmlns:a16="http://schemas.microsoft.com/office/drawing/2014/main" id="{40F5C482-726C-4EE5-8B87-4930B047FDE2}"/>
              </a:ext>
            </a:extLst>
          </p:cNvPr>
          <p:cNvSpPr/>
          <p:nvPr/>
        </p:nvSpPr>
        <p:spPr>
          <a:xfrm>
            <a:off x="3951568" y="3270528"/>
            <a:ext cx="1515987" cy="114245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30775" tIns="45700" rIns="30775" bIns="4570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Comparing the Hardware, Software, Costs, efficiency …</a:t>
            </a:r>
            <a:endParaRPr lang="en-US" sz="14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9" name="Google Shape;3022;p83">
            <a:extLst>
              <a:ext uri="{FF2B5EF4-FFF2-40B4-BE49-F238E27FC236}">
                <a16:creationId xmlns:a16="http://schemas.microsoft.com/office/drawing/2014/main" id="{E9F2E49C-0061-4FDB-B6BD-8D100D743FDD}"/>
              </a:ext>
            </a:extLst>
          </p:cNvPr>
          <p:cNvSpPr/>
          <p:nvPr/>
        </p:nvSpPr>
        <p:spPr>
          <a:xfrm>
            <a:off x="3847935" y="3192620"/>
            <a:ext cx="1723255" cy="1298745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6175" tIns="30775" rIns="30775" bIns="30775" anchor="t" anchorCtr="0">
            <a:noAutofit/>
          </a:bodyPr>
          <a:lstStyle/>
          <a:p>
            <a:pPr marL="70582" marR="0" lvl="0" indent="-70582" algn="l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0" name="Google Shape;3024;p83">
            <a:extLst>
              <a:ext uri="{FF2B5EF4-FFF2-40B4-BE49-F238E27FC236}">
                <a16:creationId xmlns:a16="http://schemas.microsoft.com/office/drawing/2014/main" id="{7DB50E5D-A953-4976-9C45-A5BD0AC8BD99}"/>
              </a:ext>
            </a:extLst>
          </p:cNvPr>
          <p:cNvCxnSpPr>
            <a:cxnSpLocks/>
            <a:stCxn id="41" idx="4"/>
            <a:endCxn id="39" idx="0"/>
          </p:cNvCxnSpPr>
          <p:nvPr/>
        </p:nvCxnSpPr>
        <p:spPr>
          <a:xfrm>
            <a:off x="4709563" y="2496849"/>
            <a:ext cx="0" cy="695771"/>
          </a:xfrm>
          <a:prstGeom prst="straightConnector1">
            <a:avLst/>
          </a:prstGeom>
          <a:noFill/>
          <a:ln w="12700" cap="sq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41" name="Google Shape;3025;p83">
            <a:extLst>
              <a:ext uri="{FF2B5EF4-FFF2-40B4-BE49-F238E27FC236}">
                <a16:creationId xmlns:a16="http://schemas.microsoft.com/office/drawing/2014/main" id="{837CA33A-3ADE-46AF-98BA-7F106EC31E40}"/>
              </a:ext>
            </a:extLst>
          </p:cNvPr>
          <p:cNvSpPr/>
          <p:nvPr/>
        </p:nvSpPr>
        <p:spPr>
          <a:xfrm>
            <a:off x="4622930" y="2323584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3002;p83">
            <a:extLst>
              <a:ext uri="{FF2B5EF4-FFF2-40B4-BE49-F238E27FC236}">
                <a16:creationId xmlns:a16="http://schemas.microsoft.com/office/drawing/2014/main" id="{2FE6BD18-ADD5-426E-B8B0-1A76612FB6E0}"/>
              </a:ext>
            </a:extLst>
          </p:cNvPr>
          <p:cNvSpPr/>
          <p:nvPr/>
        </p:nvSpPr>
        <p:spPr>
          <a:xfrm>
            <a:off x="524334" y="3264056"/>
            <a:ext cx="1525161" cy="114677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30775" tIns="45700" rIns="30775" bIns="4570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Publishing a White Paper</a:t>
            </a:r>
          </a:p>
        </p:txBody>
      </p:sp>
      <p:sp>
        <p:nvSpPr>
          <p:cNvPr id="43" name="Google Shape;3022;p83">
            <a:extLst>
              <a:ext uri="{FF2B5EF4-FFF2-40B4-BE49-F238E27FC236}">
                <a16:creationId xmlns:a16="http://schemas.microsoft.com/office/drawing/2014/main" id="{E522B949-C95E-4FDC-833A-11A895EFE56A}"/>
              </a:ext>
            </a:extLst>
          </p:cNvPr>
          <p:cNvSpPr/>
          <p:nvPr/>
        </p:nvSpPr>
        <p:spPr>
          <a:xfrm>
            <a:off x="404426" y="3191954"/>
            <a:ext cx="1723255" cy="1297258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6175" tIns="30775" rIns="30775" bIns="30775" anchor="t" anchorCtr="0">
            <a:noAutofit/>
          </a:bodyPr>
          <a:lstStyle/>
          <a:p>
            <a:pPr marL="70582" marR="0" lvl="0" indent="-70582" algn="l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4" name="Google Shape;3024;p83">
            <a:extLst>
              <a:ext uri="{FF2B5EF4-FFF2-40B4-BE49-F238E27FC236}">
                <a16:creationId xmlns:a16="http://schemas.microsoft.com/office/drawing/2014/main" id="{8FE71B38-2427-4B8B-80BF-A8F9BC4C851D}"/>
              </a:ext>
            </a:extLst>
          </p:cNvPr>
          <p:cNvCxnSpPr>
            <a:cxnSpLocks/>
            <a:stCxn id="45" idx="4"/>
            <a:endCxn id="43" idx="0"/>
          </p:cNvCxnSpPr>
          <p:nvPr/>
        </p:nvCxnSpPr>
        <p:spPr>
          <a:xfrm>
            <a:off x="1261060" y="2488613"/>
            <a:ext cx="4994" cy="703341"/>
          </a:xfrm>
          <a:prstGeom prst="straightConnector1">
            <a:avLst/>
          </a:prstGeom>
          <a:noFill/>
          <a:ln w="12700" cap="sq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45" name="Google Shape;3025;p83">
            <a:extLst>
              <a:ext uri="{FF2B5EF4-FFF2-40B4-BE49-F238E27FC236}">
                <a16:creationId xmlns:a16="http://schemas.microsoft.com/office/drawing/2014/main" id="{B09C7A56-D6CC-45FA-8C0A-EB4F394973D7}"/>
              </a:ext>
            </a:extLst>
          </p:cNvPr>
          <p:cNvSpPr/>
          <p:nvPr/>
        </p:nvSpPr>
        <p:spPr>
          <a:xfrm>
            <a:off x="1174427" y="2315348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" name="Picture 7" descr="A picture containing text, businesscard, screenshot&#10;&#10;Description automatically generated">
            <a:extLst>
              <a:ext uri="{FF2B5EF4-FFF2-40B4-BE49-F238E27FC236}">
                <a16:creationId xmlns:a16="http://schemas.microsoft.com/office/drawing/2014/main" id="{5CF77EEE-15A4-3992-7320-088012DF92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6043" y="3760973"/>
            <a:ext cx="3417181" cy="883353"/>
          </a:xfrm>
          <a:prstGeom prst="rect">
            <a:avLst/>
          </a:prstGeom>
        </p:spPr>
      </p:pic>
      <p:sp>
        <p:nvSpPr>
          <p:cNvPr id="87" name="Google Shape;3002;p83">
            <a:extLst>
              <a:ext uri="{FF2B5EF4-FFF2-40B4-BE49-F238E27FC236}">
                <a16:creationId xmlns:a16="http://schemas.microsoft.com/office/drawing/2014/main" id="{17C08378-FB02-DF29-211F-3897924BF841}"/>
              </a:ext>
            </a:extLst>
          </p:cNvPr>
          <p:cNvSpPr/>
          <p:nvPr/>
        </p:nvSpPr>
        <p:spPr>
          <a:xfrm>
            <a:off x="2105139" y="4828015"/>
            <a:ext cx="1795936" cy="15243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30775" tIns="45700" rIns="30775" bIns="4570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Target Companies :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NoTraffic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Miovision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RythmEngineering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Iteris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Wavetronics</a:t>
            </a:r>
          </a:p>
          <a:p>
            <a:pPr algn="ctr"/>
            <a:endParaRPr lang="en-US" sz="14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88" name="Google Shape;3022;p83">
            <a:extLst>
              <a:ext uri="{FF2B5EF4-FFF2-40B4-BE49-F238E27FC236}">
                <a16:creationId xmlns:a16="http://schemas.microsoft.com/office/drawing/2014/main" id="{E3517AE3-514A-8B7D-067E-2D6BDF7EDD61}"/>
              </a:ext>
            </a:extLst>
          </p:cNvPr>
          <p:cNvSpPr/>
          <p:nvPr/>
        </p:nvSpPr>
        <p:spPr>
          <a:xfrm>
            <a:off x="2049494" y="4754089"/>
            <a:ext cx="1902073" cy="1688887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6175" tIns="30775" rIns="30775" bIns="30775" anchor="t" anchorCtr="0">
            <a:noAutofit/>
          </a:bodyPr>
          <a:lstStyle/>
          <a:p>
            <a:pPr marL="70582" marR="0" lvl="0" indent="-70582" algn="l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" name="Google Shape;3024;p83">
            <a:extLst>
              <a:ext uri="{FF2B5EF4-FFF2-40B4-BE49-F238E27FC236}">
                <a16:creationId xmlns:a16="http://schemas.microsoft.com/office/drawing/2014/main" id="{00924FD9-99A8-EE54-D8DE-AA2390F9A192}"/>
              </a:ext>
            </a:extLst>
          </p:cNvPr>
          <p:cNvCxnSpPr>
            <a:cxnSpLocks/>
            <a:stCxn id="90" idx="4"/>
            <a:endCxn id="88" idx="0"/>
          </p:cNvCxnSpPr>
          <p:nvPr/>
        </p:nvCxnSpPr>
        <p:spPr>
          <a:xfrm flipH="1">
            <a:off x="3000531" y="2488612"/>
            <a:ext cx="27501" cy="2265477"/>
          </a:xfrm>
          <a:prstGeom prst="straightConnector1">
            <a:avLst/>
          </a:prstGeom>
          <a:noFill/>
          <a:ln w="12700" cap="sq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0" name="Google Shape;3025;p83">
            <a:extLst>
              <a:ext uri="{FF2B5EF4-FFF2-40B4-BE49-F238E27FC236}">
                <a16:creationId xmlns:a16="http://schemas.microsoft.com/office/drawing/2014/main" id="{742F419E-3D58-79A9-9A1F-0D9D9BF67FE5}"/>
              </a:ext>
            </a:extLst>
          </p:cNvPr>
          <p:cNvSpPr/>
          <p:nvPr/>
        </p:nvSpPr>
        <p:spPr>
          <a:xfrm>
            <a:off x="2941399" y="2315347"/>
            <a:ext cx="173265" cy="173265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D94970E6-1F12-6C69-F8C2-DDC294CB08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275288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73270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786759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370024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108900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377802">
                  <a:extLst>
                    <a:ext uri="{9D8B030D-6E8A-4147-A177-3AD203B41FA5}">
                      <a16:colId xmlns:a16="http://schemas.microsoft.com/office/drawing/2014/main" val="2599015853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3345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38" grpId="0" animBg="1"/>
      <p:bldP spid="42" grpId="0" animBg="1"/>
      <p:bldP spid="8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FE5F11-B7B9-4B80-8C6A-A8A7A7190B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644300"/>
            <a:ext cx="2842294" cy="1207273"/>
          </a:xfrm>
        </p:spPr>
        <p:txBody>
          <a:bodyPr/>
          <a:lstStyle/>
          <a:p>
            <a:r>
              <a:rPr lang="en-US" dirty="0"/>
              <a:t>Estimated Schedule</a:t>
            </a:r>
          </a:p>
        </p:txBody>
      </p:sp>
      <p:graphicFrame>
        <p:nvGraphicFramePr>
          <p:cNvPr id="5" name="Google Shape;2958;p82">
            <a:extLst>
              <a:ext uri="{FF2B5EF4-FFF2-40B4-BE49-F238E27FC236}">
                <a16:creationId xmlns:a16="http://schemas.microsoft.com/office/drawing/2014/main" id="{37873620-03C4-462F-B17E-1F5C669FB2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079079"/>
              </p:ext>
            </p:extLst>
          </p:nvPr>
        </p:nvGraphicFramePr>
        <p:xfrm>
          <a:off x="6098610" y="3356138"/>
          <a:ext cx="5617200" cy="30873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36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6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6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62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0873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7675" marR="87675" marT="43850" marB="43850">
                    <a:lnL w="9525" cap="flat" cmpd="sng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7675" marR="87675" marT="43850" marB="43850">
                    <a:lnL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7675" marR="87675" marT="43850" marB="43850">
                    <a:lnL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7675" marR="87675" marT="43850" marB="43850">
                    <a:lnL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7675" marR="87675" marT="43850" marB="43850">
                    <a:lnL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7675" marR="87675" marT="43850" marB="43850">
                    <a:lnL w="9525" cap="flat" cmpd="sng" algn="ctr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ACACA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Google Shape;2971;p82">
            <a:extLst>
              <a:ext uri="{FF2B5EF4-FFF2-40B4-BE49-F238E27FC236}">
                <a16:creationId xmlns:a16="http://schemas.microsoft.com/office/drawing/2014/main" id="{CEA51069-ED3C-4BC8-8D9B-1DE035E577B5}"/>
              </a:ext>
            </a:extLst>
          </p:cNvPr>
          <p:cNvSpPr/>
          <p:nvPr/>
        </p:nvSpPr>
        <p:spPr>
          <a:xfrm>
            <a:off x="6098610" y="3844238"/>
            <a:ext cx="3735034" cy="504483"/>
          </a:xfrm>
          <a:prstGeom prst="homePlate">
            <a:avLst>
              <a:gd name="adj" fmla="val 50000"/>
            </a:avLst>
          </a:prstGeom>
          <a:solidFill>
            <a:srgbClr val="E9E6D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PMingLiU" panose="02020500000000000000" pitchFamily="18" charset="-120"/>
                <a:cs typeface="Arial" panose="020B0604020202020204" pitchFamily="34" charset="0"/>
              </a:rPr>
              <a:t>Conduct studies for real-world 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PMingLiU" panose="02020500000000000000" pitchFamily="18" charset="-120"/>
                <a:cs typeface="Arial" panose="020B0604020202020204" pitchFamily="34" charset="0"/>
              </a:rPr>
              <a:t>performance evaluation</a:t>
            </a:r>
            <a:endParaRPr sz="140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1" name="Google Shape;2971;p82">
            <a:extLst>
              <a:ext uri="{FF2B5EF4-FFF2-40B4-BE49-F238E27FC236}">
                <a16:creationId xmlns:a16="http://schemas.microsoft.com/office/drawing/2014/main" id="{E76AC9C8-8624-4A90-8F8D-806D9783953D}"/>
              </a:ext>
            </a:extLst>
          </p:cNvPr>
          <p:cNvSpPr/>
          <p:nvPr/>
        </p:nvSpPr>
        <p:spPr>
          <a:xfrm>
            <a:off x="6098609" y="4458348"/>
            <a:ext cx="4678881" cy="504483"/>
          </a:xfrm>
          <a:prstGeom prst="homePlate">
            <a:avLst>
              <a:gd name="adj" fmla="val 50000"/>
            </a:avLst>
          </a:prstGeom>
          <a:solidFill>
            <a:srgbClr val="E9E6D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latin typeface="Arial"/>
                <a:ea typeface="Arial"/>
                <a:cs typeface="Arial"/>
                <a:sym typeface="Arial"/>
              </a:rPr>
              <a:t>Scientific Paper Drafting</a:t>
            </a:r>
            <a:endParaRPr sz="14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971;p82">
            <a:extLst>
              <a:ext uri="{FF2B5EF4-FFF2-40B4-BE49-F238E27FC236}">
                <a16:creationId xmlns:a16="http://schemas.microsoft.com/office/drawing/2014/main" id="{13637D51-CF65-4931-A5B6-563B700C951D}"/>
              </a:ext>
            </a:extLst>
          </p:cNvPr>
          <p:cNvSpPr/>
          <p:nvPr/>
        </p:nvSpPr>
        <p:spPr>
          <a:xfrm>
            <a:off x="6098610" y="5072458"/>
            <a:ext cx="5581444" cy="504483"/>
          </a:xfrm>
          <a:prstGeom prst="homePlate">
            <a:avLst>
              <a:gd name="adj" fmla="val 50000"/>
            </a:avLst>
          </a:prstGeom>
          <a:solidFill>
            <a:srgbClr val="E9E6D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latin typeface="Arial"/>
                <a:ea typeface="Arial"/>
                <a:cs typeface="Arial"/>
                <a:sym typeface="Arial"/>
              </a:rPr>
              <a:t>Final presentation to investors and final report submission</a:t>
            </a:r>
            <a:endParaRPr sz="1400" dirty="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6" name="Graphic 25" descr="Badge Tick outline">
            <a:extLst>
              <a:ext uri="{FF2B5EF4-FFF2-40B4-BE49-F238E27FC236}">
                <a16:creationId xmlns:a16="http://schemas.microsoft.com/office/drawing/2014/main" id="{8C844A81-3469-41E8-B08E-AC4404BAF6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64152" y="3844238"/>
            <a:ext cx="504483" cy="504483"/>
          </a:xfrm>
          <a:prstGeom prst="rect">
            <a:avLst/>
          </a:prstGeom>
        </p:spPr>
      </p:pic>
      <p:pic>
        <p:nvPicPr>
          <p:cNvPr id="27" name="Graphic 26" descr="Badge Tick outline">
            <a:extLst>
              <a:ext uri="{FF2B5EF4-FFF2-40B4-BE49-F238E27FC236}">
                <a16:creationId xmlns:a16="http://schemas.microsoft.com/office/drawing/2014/main" id="{4989F0A1-1C7A-437F-9CD4-AA646CCBFB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20766" y="4458348"/>
            <a:ext cx="504483" cy="504483"/>
          </a:xfrm>
          <a:prstGeom prst="rect">
            <a:avLst/>
          </a:prstGeom>
        </p:spPr>
      </p:pic>
      <p:pic>
        <p:nvPicPr>
          <p:cNvPr id="28" name="Graphic 27" descr="Badge Tick outline">
            <a:extLst>
              <a:ext uri="{FF2B5EF4-FFF2-40B4-BE49-F238E27FC236}">
                <a16:creationId xmlns:a16="http://schemas.microsoft.com/office/drawing/2014/main" id="{9B272164-9783-42C8-88B7-DEAD10EC1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41208" y="5072457"/>
            <a:ext cx="504483" cy="504483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B2D06B7D-8E4E-4C32-A292-03442ECA7EDF}"/>
              </a:ext>
            </a:extLst>
          </p:cNvPr>
          <p:cNvSpPr/>
          <p:nvPr/>
        </p:nvSpPr>
        <p:spPr>
          <a:xfrm>
            <a:off x="11283520" y="2513928"/>
            <a:ext cx="834500" cy="4234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30</a:t>
            </a:r>
            <a:r>
              <a:rPr lang="en-US" sz="1100" baseline="30000" dirty="0">
                <a:solidFill>
                  <a:schemeClr val="tx1"/>
                </a:solidFill>
              </a:rPr>
              <a:t>th</a:t>
            </a:r>
            <a:r>
              <a:rPr lang="en-US" sz="1100" dirty="0">
                <a:solidFill>
                  <a:schemeClr val="tx1"/>
                </a:solidFill>
              </a:rPr>
              <a:t> Dec 2022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A57BFE-16D2-403F-B545-C6512111E0E9}"/>
              </a:ext>
            </a:extLst>
          </p:cNvPr>
          <p:cNvCxnSpPr>
            <a:cxnSpLocks/>
            <a:endCxn id="29" idx="2"/>
          </p:cNvCxnSpPr>
          <p:nvPr/>
        </p:nvCxnSpPr>
        <p:spPr>
          <a:xfrm flipH="1" flipV="1">
            <a:off x="11700770" y="2937340"/>
            <a:ext cx="0" cy="418798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B076C4FD-6ABD-4D91-B356-58BF32BCADA8}"/>
              </a:ext>
            </a:extLst>
          </p:cNvPr>
          <p:cNvSpPr/>
          <p:nvPr/>
        </p:nvSpPr>
        <p:spPr>
          <a:xfrm>
            <a:off x="10363054" y="2513928"/>
            <a:ext cx="834500" cy="4234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1</a:t>
            </a:r>
            <a:r>
              <a:rPr lang="en-US" sz="1100" baseline="30000" dirty="0">
                <a:solidFill>
                  <a:schemeClr val="tx1"/>
                </a:solidFill>
              </a:rPr>
              <a:t>st</a:t>
            </a:r>
            <a:r>
              <a:rPr lang="en-US" sz="1100" dirty="0">
                <a:solidFill>
                  <a:schemeClr val="tx1"/>
                </a:solidFill>
              </a:rPr>
              <a:t> Dec 2022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2A17145-483E-45EF-B119-875F1737A7F1}"/>
              </a:ext>
            </a:extLst>
          </p:cNvPr>
          <p:cNvCxnSpPr>
            <a:cxnSpLocks/>
            <a:endCxn id="35" idx="2"/>
          </p:cNvCxnSpPr>
          <p:nvPr/>
        </p:nvCxnSpPr>
        <p:spPr>
          <a:xfrm flipH="1" flipV="1">
            <a:off x="10780304" y="2937340"/>
            <a:ext cx="0" cy="418798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26097760-10F2-45FC-BFB1-49416C5E7BDD}"/>
              </a:ext>
            </a:extLst>
          </p:cNvPr>
          <p:cNvSpPr/>
          <p:nvPr/>
        </p:nvSpPr>
        <p:spPr>
          <a:xfrm>
            <a:off x="9416394" y="2513928"/>
            <a:ext cx="834500" cy="4234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25</a:t>
            </a:r>
            <a:r>
              <a:rPr lang="en-US" sz="1100" baseline="30000" dirty="0">
                <a:solidFill>
                  <a:schemeClr val="tx1"/>
                </a:solidFill>
              </a:rPr>
              <a:t>th</a:t>
            </a:r>
            <a:r>
              <a:rPr lang="en-US" sz="1100" dirty="0">
                <a:solidFill>
                  <a:schemeClr val="tx1"/>
                </a:solidFill>
              </a:rPr>
              <a:t> Nov 2022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301B0FB-95C6-4BB0-97B1-E59DFAD1D4BF}"/>
              </a:ext>
            </a:extLst>
          </p:cNvPr>
          <p:cNvCxnSpPr>
            <a:cxnSpLocks/>
            <a:endCxn id="37" idx="2"/>
          </p:cNvCxnSpPr>
          <p:nvPr/>
        </p:nvCxnSpPr>
        <p:spPr>
          <a:xfrm flipH="1" flipV="1">
            <a:off x="9833644" y="2937340"/>
            <a:ext cx="0" cy="418798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4" name="Table 8">
            <a:extLst>
              <a:ext uri="{FF2B5EF4-FFF2-40B4-BE49-F238E27FC236}">
                <a16:creationId xmlns:a16="http://schemas.microsoft.com/office/drawing/2014/main" id="{892F0264-BC06-2B04-80B4-51BD3ED50E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5401464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83781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870841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275431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066859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19843">
                  <a:extLst>
                    <a:ext uri="{9D8B030D-6E8A-4147-A177-3AD203B41FA5}">
                      <a16:colId xmlns:a16="http://schemas.microsoft.com/office/drawing/2014/main" val="2628184451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728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1" grpId="0" animBg="1"/>
      <p:bldP spid="23" grpId="0" animBg="1"/>
      <p:bldP spid="29" grpId="0" animBg="1"/>
      <p:bldP spid="35" grpId="0" animBg="1"/>
      <p:bldP spid="3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32731C-311B-46F7-A865-6C3AF6B09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075" y="597441"/>
            <a:ext cx="5553630" cy="1204912"/>
          </a:xfrm>
        </p:spPr>
        <p:txBody>
          <a:bodyPr/>
          <a:lstStyle/>
          <a:p>
            <a:r>
              <a:rPr lang="en-US" dirty="0">
                <a:cs typeface="Times New Roman" panose="02020603050405020304" pitchFamily="18" charset="0"/>
              </a:rPr>
              <a:t>Updates and Current Stag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E12647-CCB2-45E2-A9CB-A868F49049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1219200" cy="365125"/>
          </a:xfrm>
        </p:spPr>
        <p:txBody>
          <a:bodyPr/>
          <a:lstStyle/>
          <a:p>
            <a:r>
              <a:rPr lang="en-US" dirty="0">
                <a:latin typeface="+mj-lt"/>
                <a:cs typeface="Times New Roman" panose="02020603050405020304" pitchFamily="18" charset="0"/>
              </a:rPr>
              <a:t>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51ED20-04D4-4894-B0C2-9C541A61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63800" y="6356350"/>
            <a:ext cx="3479800" cy="365125"/>
          </a:xfrm>
        </p:spPr>
        <p:txBody>
          <a:bodyPr/>
          <a:lstStyle/>
          <a:p>
            <a:r>
              <a:rPr lang="en-US" dirty="0">
                <a:latin typeface="+mj-lt"/>
                <a:cs typeface="Times New Roman" panose="02020603050405020304" pitchFamily="18" charset="0"/>
              </a:rPr>
              <a:t>Smart Traffic Vendor Projec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C1787E-7110-4989-B0B8-DD4E0ACC0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>
                <a:latin typeface="+mj-lt"/>
                <a:cs typeface="Times New Roman" panose="02020603050405020304" pitchFamily="18" charset="0"/>
              </a:rPr>
              <a:pPr/>
              <a:t>5</a:t>
            </a:fld>
            <a:endParaRPr lang="en-US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3872A5C-38CD-A7AF-A155-16BD09883EF6}"/>
              </a:ext>
            </a:extLst>
          </p:cNvPr>
          <p:cNvSpPr txBox="1">
            <a:spLocks/>
          </p:cNvSpPr>
          <p:nvPr/>
        </p:nvSpPr>
        <p:spPr>
          <a:xfrm>
            <a:off x="1362074" y="2205386"/>
            <a:ext cx="5198523" cy="35118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  <a:cs typeface="Times New Roman" panose="02020603050405020304" pitchFamily="18" charset="0"/>
              </a:rPr>
              <a:t>Initially, we focused on contacting vendors and obtaining quotes from the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  <a:cs typeface="Times New Roman" panose="02020603050405020304" pitchFamily="18" charset="0"/>
              </a:rPr>
              <a:t>Furthermore, the policies with which the vendors must comply were investigat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  <a:cs typeface="Times New Roman" panose="02020603050405020304" pitchFamily="18" charset="0"/>
              </a:rPr>
              <a:t>The project has been delayed due to issues with partnership between COX and ASU collaborato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  <a:cs typeface="Times New Roman" panose="02020603050405020304" pitchFamily="18" charset="0"/>
              </a:rPr>
              <a:t>Hence, I started researching about the vend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  <a:cs typeface="Times New Roman" panose="02020603050405020304" pitchFamily="18" charset="0"/>
              </a:rPr>
              <a:t>Thus, I chose NoTaffic and Miovision</a:t>
            </a:r>
          </a:p>
        </p:txBody>
      </p: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EB72D77C-42C2-E937-75CB-8D50EF9637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06337" y="4957655"/>
            <a:ext cx="3138822" cy="1655747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09549D8-5400-1F2B-6BF9-BC2B03ACAB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6337" y="4160998"/>
            <a:ext cx="3138822" cy="603221"/>
          </a:xfrm>
          <a:prstGeom prst="rect">
            <a:avLst/>
          </a:prstGeom>
        </p:spPr>
      </p:pic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7FE5A912-ED4B-1FE5-A684-E396AD9E06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644905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2073270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755228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401555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087879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398823">
                  <a:extLst>
                    <a:ext uri="{9D8B030D-6E8A-4147-A177-3AD203B41FA5}">
                      <a16:colId xmlns:a16="http://schemas.microsoft.com/office/drawing/2014/main" val="2724362867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544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167AF105-EC49-4B5B-B776-493418DF5B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62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2">
            <a:extLst>
              <a:ext uri="{FF2B5EF4-FFF2-40B4-BE49-F238E27FC236}">
                <a16:creationId xmlns:a16="http://schemas.microsoft.com/office/drawing/2014/main" id="{14B1858C-6171-43CC-A6D6-C36573AC7F83}"/>
              </a:ext>
            </a:extLst>
          </p:cNvPr>
          <p:cNvSpPr/>
          <p:nvPr/>
        </p:nvSpPr>
        <p:spPr>
          <a:xfrm>
            <a:off x="7055648" y="2217740"/>
            <a:ext cx="4114800" cy="1027963"/>
          </a:xfrm>
          <a:custGeom>
            <a:avLst/>
            <a:gdLst>
              <a:gd name="connsiteX0" fmla="*/ 0 w 3426543"/>
              <a:gd name="connsiteY0" fmla="*/ 0 h 1027963"/>
              <a:gd name="connsiteX1" fmla="*/ 3426543 w 3426543"/>
              <a:gd name="connsiteY1" fmla="*/ 0 h 1027963"/>
              <a:gd name="connsiteX2" fmla="*/ 3426543 w 3426543"/>
              <a:gd name="connsiteY2" fmla="*/ 1027963 h 1027963"/>
              <a:gd name="connsiteX3" fmla="*/ 0 w 3426543"/>
              <a:gd name="connsiteY3" fmla="*/ 1027963 h 1027963"/>
              <a:gd name="connsiteX4" fmla="*/ 0 w 3426543"/>
              <a:gd name="connsiteY4" fmla="*/ 0 h 10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6543" h="1027963">
                <a:moveTo>
                  <a:pt x="0" y="0"/>
                </a:moveTo>
                <a:lnTo>
                  <a:pt x="3426543" y="0"/>
                </a:lnTo>
                <a:lnTo>
                  <a:pt x="3426543" y="1027963"/>
                </a:lnTo>
                <a:lnTo>
                  <a:pt x="0" y="102796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0773" tIns="270773" rIns="270773" bIns="270773" numCol="1" spcCol="1270" anchor="ctr" anchorCtr="0">
            <a:noAutofit/>
          </a:bodyPr>
          <a:lstStyle/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None/>
            </a:pPr>
            <a:r>
              <a:rPr lang="en-US" sz="1600" kern="1200" dirty="0">
                <a:solidFill>
                  <a:srgbClr val="0070C0"/>
                </a:solidFill>
              </a:rPr>
              <a:t>No Traffic:</a:t>
            </a:r>
            <a:endParaRPr lang="en-US" sz="1600" kern="1200" spc="150" baseline="0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B949FD1-0453-4AD1-9F51-EE8B22C95B5B}"/>
              </a:ext>
            </a:extLst>
          </p:cNvPr>
          <p:cNvSpPr/>
          <p:nvPr/>
        </p:nvSpPr>
        <p:spPr>
          <a:xfrm>
            <a:off x="7055648" y="3245703"/>
            <a:ext cx="4114800" cy="2953136"/>
          </a:xfrm>
          <a:custGeom>
            <a:avLst/>
            <a:gdLst>
              <a:gd name="connsiteX0" fmla="*/ 0 w 3426543"/>
              <a:gd name="connsiteY0" fmla="*/ 0 h 2953136"/>
              <a:gd name="connsiteX1" fmla="*/ 3426543 w 3426543"/>
              <a:gd name="connsiteY1" fmla="*/ 0 h 2953136"/>
              <a:gd name="connsiteX2" fmla="*/ 3426543 w 3426543"/>
              <a:gd name="connsiteY2" fmla="*/ 2953136 h 2953136"/>
              <a:gd name="connsiteX3" fmla="*/ 0 w 3426543"/>
              <a:gd name="connsiteY3" fmla="*/ 2953136 h 2953136"/>
              <a:gd name="connsiteX4" fmla="*/ 0 w 3426543"/>
              <a:gd name="connsiteY4" fmla="*/ 0 h 2953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6543" h="2953136">
                <a:moveTo>
                  <a:pt x="0" y="0"/>
                </a:moveTo>
                <a:lnTo>
                  <a:pt x="3426543" y="0"/>
                </a:lnTo>
                <a:lnTo>
                  <a:pt x="3426543" y="2953136"/>
                </a:lnTo>
                <a:lnTo>
                  <a:pt x="0" y="295313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8466" tIns="338466" rIns="338466" bIns="338466" numCol="1" spcCol="1270" anchor="t" anchorCtr="0">
            <a:noAutofit/>
          </a:bodyPr>
          <a:lstStyle/>
          <a:p>
            <a:pPr marL="285750" lvl="0" indent="-285750" algn="l" defTabSz="6223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/>
              <a:t>Optimizes Lights timing based on Smart Sensors in real time</a:t>
            </a:r>
          </a:p>
          <a:p>
            <a:pPr marL="285750" lvl="0" indent="-285750" algn="l" defTabSz="6223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/>
              <a:t>End to end hardware and software solution</a:t>
            </a:r>
          </a:p>
          <a:p>
            <a:pPr marL="285750" lvl="0" indent="-285750" algn="l" defTabSz="6223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/>
              <a:t>Data of road users is transferred to cloud for additional processing</a:t>
            </a:r>
          </a:p>
          <a:p>
            <a:pPr marL="285750" lvl="0" indent="-285750" algn="l" defTabSz="6223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/>
              <a:t>Plans to implement – Road as  a Service (RAAS)</a:t>
            </a:r>
          </a:p>
          <a:p>
            <a:pPr lvl="0" algn="l" defTabSz="6223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</a:pPr>
            <a:endParaRPr lang="en-US" sz="1400" kern="1200" dirty="0"/>
          </a:p>
          <a:p>
            <a:pPr marL="0" lvl="0" indent="0" algn="l" defTabSz="6223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Font typeface="+mj-lt"/>
              <a:buNone/>
            </a:pPr>
            <a:endParaRPr lang="en-US" sz="1400" kern="1200" spc="50" baseline="0" dirty="0">
              <a:latin typeface="+mn-lt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627CC26-34EF-4BB9-B289-9EC56B07D1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E98E6AD-9D37-499C-898E-ED12AC36D3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Smart Traffic Vendor Projec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2908AF9-2A07-4B50-BC13-471792106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89ED9FE-1AE4-4D72-B831-2A71A733B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5156" y="892177"/>
            <a:ext cx="8421688" cy="1325563"/>
          </a:xfrm>
        </p:spPr>
        <p:txBody>
          <a:bodyPr vert="horz"/>
          <a:lstStyle/>
          <a:p>
            <a:r>
              <a:rPr lang="en-US" dirty="0"/>
              <a:t>Information Gathered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FA6D94A-05C8-4942-0830-F9C10E7A17ED}"/>
              </a:ext>
            </a:extLst>
          </p:cNvPr>
          <p:cNvSpPr/>
          <p:nvPr/>
        </p:nvSpPr>
        <p:spPr>
          <a:xfrm>
            <a:off x="1885156" y="2217740"/>
            <a:ext cx="4003208" cy="1027963"/>
          </a:xfrm>
          <a:custGeom>
            <a:avLst/>
            <a:gdLst>
              <a:gd name="connsiteX0" fmla="*/ 0 w 3426543"/>
              <a:gd name="connsiteY0" fmla="*/ 0 h 1027963"/>
              <a:gd name="connsiteX1" fmla="*/ 3426543 w 3426543"/>
              <a:gd name="connsiteY1" fmla="*/ 0 h 1027963"/>
              <a:gd name="connsiteX2" fmla="*/ 3426543 w 3426543"/>
              <a:gd name="connsiteY2" fmla="*/ 1027963 h 1027963"/>
              <a:gd name="connsiteX3" fmla="*/ 0 w 3426543"/>
              <a:gd name="connsiteY3" fmla="*/ 1027963 h 1027963"/>
              <a:gd name="connsiteX4" fmla="*/ 0 w 3426543"/>
              <a:gd name="connsiteY4" fmla="*/ 0 h 10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6543" h="1027963">
                <a:moveTo>
                  <a:pt x="0" y="0"/>
                </a:moveTo>
                <a:lnTo>
                  <a:pt x="3426543" y="0"/>
                </a:lnTo>
                <a:lnTo>
                  <a:pt x="3426543" y="1027963"/>
                </a:lnTo>
                <a:lnTo>
                  <a:pt x="0" y="102796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0773" tIns="270773" rIns="270773" bIns="270773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dirty="0">
                <a:solidFill>
                  <a:schemeClr val="accent2"/>
                </a:solidFill>
              </a:rPr>
              <a:t>Miovision:</a:t>
            </a:r>
            <a:endParaRPr lang="en-US" sz="1600" kern="1200" spc="150" baseline="0" dirty="0">
              <a:solidFill>
                <a:schemeClr val="accent2"/>
              </a:solidFill>
              <a:latin typeface="Tenorite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E49027C-1809-1FD1-6A4A-DB9587153DA5}"/>
              </a:ext>
            </a:extLst>
          </p:cNvPr>
          <p:cNvSpPr/>
          <p:nvPr/>
        </p:nvSpPr>
        <p:spPr>
          <a:xfrm>
            <a:off x="1885156" y="3245703"/>
            <a:ext cx="4003208" cy="2953136"/>
          </a:xfrm>
          <a:custGeom>
            <a:avLst/>
            <a:gdLst>
              <a:gd name="connsiteX0" fmla="*/ 0 w 3426543"/>
              <a:gd name="connsiteY0" fmla="*/ 0 h 2953136"/>
              <a:gd name="connsiteX1" fmla="*/ 3426543 w 3426543"/>
              <a:gd name="connsiteY1" fmla="*/ 0 h 2953136"/>
              <a:gd name="connsiteX2" fmla="*/ 3426543 w 3426543"/>
              <a:gd name="connsiteY2" fmla="*/ 2953136 h 2953136"/>
              <a:gd name="connsiteX3" fmla="*/ 0 w 3426543"/>
              <a:gd name="connsiteY3" fmla="*/ 2953136 h 2953136"/>
              <a:gd name="connsiteX4" fmla="*/ 0 w 3426543"/>
              <a:gd name="connsiteY4" fmla="*/ 0 h 2953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6543" h="2953136">
                <a:moveTo>
                  <a:pt x="0" y="0"/>
                </a:moveTo>
                <a:lnTo>
                  <a:pt x="3426543" y="0"/>
                </a:lnTo>
                <a:lnTo>
                  <a:pt x="3426543" y="2953136"/>
                </a:lnTo>
                <a:lnTo>
                  <a:pt x="0" y="295313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8466" tIns="338466" rIns="338466" bIns="338466" numCol="1" spcCol="1270" anchor="t" anchorCtr="0">
            <a:noAutofit/>
          </a:bodyPr>
          <a:lstStyle/>
          <a:p>
            <a:pPr marL="285750" lvl="0" indent="-285750" algn="l" defTabSz="666750" rtl="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/>
              <a:t>Focuses on reducing emissions, road safety and congestion</a:t>
            </a:r>
          </a:p>
          <a:p>
            <a:pPr marL="285750" lvl="0" indent="-285750" algn="l" defTabSz="666750" rtl="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/>
              <a:t>Remotely manage and track your traffic network</a:t>
            </a:r>
          </a:p>
          <a:p>
            <a:pPr marL="285750" lvl="0" indent="-285750" algn="l" defTabSz="666750" rtl="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/>
              <a:t>Miovision Scouts :</a:t>
            </a:r>
          </a:p>
          <a:p>
            <a:pPr marL="742950" lvl="1" indent="-285750" defTabSz="666750"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/>
              <a:t>Camera based data sensor </a:t>
            </a:r>
          </a:p>
          <a:p>
            <a:pPr marL="742950" lvl="1" indent="-285750" defTabSz="666750"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400" kern="1200" dirty="0"/>
              <a:t>Has the option for Custom Classification</a:t>
            </a:r>
            <a:endParaRPr lang="en-US" sz="1400" kern="1200" spc="50" baseline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enorite"/>
              <a:ea typeface="+mn-ea"/>
              <a:cs typeface="+mn-cs"/>
            </a:endParaRPr>
          </a:p>
        </p:txBody>
      </p:sp>
      <p:graphicFrame>
        <p:nvGraphicFramePr>
          <p:cNvPr id="2" name="Table 8">
            <a:extLst>
              <a:ext uri="{FF2B5EF4-FFF2-40B4-BE49-F238E27FC236}">
                <a16:creationId xmlns:a16="http://schemas.microsoft.com/office/drawing/2014/main" id="{20420ED1-E9FC-BA8B-859C-4C2B0E3929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0733718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1852553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303283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238703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93416">
                  <a:extLst>
                    <a:ext uri="{9D8B030D-6E8A-4147-A177-3AD203B41FA5}">
                      <a16:colId xmlns:a16="http://schemas.microsoft.com/office/drawing/2014/main" val="1568820529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63854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70F9D3-F54E-74AB-D038-C7BBAE867E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800" y="115656"/>
            <a:ext cx="8421688" cy="132556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iovision Scout</a:t>
            </a:r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9C5074D9-D3E0-AD73-1421-DEFF4322C2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8D39A36C-DF7F-8433-F2F0-2D4CFC95B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mart Traffic Vendor Project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350AE838-2C11-4AC7-D468-2DC3886A2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DFD55-3C28-40EF-9E31-A92D2E4017FF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2" name="Picture 31" descr="A picture containing text&#10;&#10;Description automatically generated">
            <a:extLst>
              <a:ext uri="{FF2B5EF4-FFF2-40B4-BE49-F238E27FC236}">
                <a16:creationId xmlns:a16="http://schemas.microsoft.com/office/drawing/2014/main" id="{9A0B148A-AC7A-A3EA-E909-427F45D1D3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5342" y="778438"/>
            <a:ext cx="1919607" cy="5434474"/>
          </a:xfrm>
          <a:prstGeom prst="rect">
            <a:avLst/>
          </a:prstGeom>
        </p:spPr>
      </p:pic>
      <p:pic>
        <p:nvPicPr>
          <p:cNvPr id="33" name="Picture 32" descr="A picture containing text, outdoor, sign, screenshot">
            <a:extLst>
              <a:ext uri="{FF2B5EF4-FFF2-40B4-BE49-F238E27FC236}">
                <a16:creationId xmlns:a16="http://schemas.microsoft.com/office/drawing/2014/main" id="{A9C2CB63-C1D3-B8CC-7F23-30FF395130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8600" y="1259424"/>
            <a:ext cx="6032692" cy="2880270"/>
          </a:xfrm>
          <a:prstGeom prst="rect">
            <a:avLst/>
          </a:prstGeom>
        </p:spPr>
      </p:pic>
      <p:pic>
        <p:nvPicPr>
          <p:cNvPr id="37" name="Picture 36" descr="A picture containing outdoor, yellow">
            <a:extLst>
              <a:ext uri="{FF2B5EF4-FFF2-40B4-BE49-F238E27FC236}">
                <a16:creationId xmlns:a16="http://schemas.microsoft.com/office/drawing/2014/main" id="{772F7606-05AE-2DBD-2BCA-FA7254572D9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438"/>
          <a:stretch/>
        </p:blipFill>
        <p:spPr>
          <a:xfrm>
            <a:off x="5030396" y="4162420"/>
            <a:ext cx="4379933" cy="2041830"/>
          </a:xfrm>
          <a:prstGeom prst="rect">
            <a:avLst/>
          </a:prstGeom>
        </p:spPr>
      </p:pic>
      <p:graphicFrame>
        <p:nvGraphicFramePr>
          <p:cNvPr id="4" name="Table 8">
            <a:extLst>
              <a:ext uri="{FF2B5EF4-FFF2-40B4-BE49-F238E27FC236}">
                <a16:creationId xmlns:a16="http://schemas.microsoft.com/office/drawing/2014/main" id="{F7D72101-08DE-95AB-8851-1D00A22AD6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029971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1852553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303283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238703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93416">
                  <a:extLst>
                    <a:ext uri="{9D8B030D-6E8A-4147-A177-3AD203B41FA5}">
                      <a16:colId xmlns:a16="http://schemas.microsoft.com/office/drawing/2014/main" val="1568820529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5146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9F810F27-40E9-6628-7453-D103C2194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22</a:t>
            </a:r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7D531D51-24C2-0BC7-E125-6B31B75E8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mart Traffic Vendor Project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3A175820-BE56-85B0-69C0-879CFBB14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DFD55-3C28-40EF-9E31-A92D2E4017FF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EF2BDB2-F087-7972-7885-E934C012DB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059" y="2099074"/>
            <a:ext cx="4025703" cy="2659851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Picture 34" descr="Diagram&#10;&#10;Description automatically generated">
            <a:extLst>
              <a:ext uri="{FF2B5EF4-FFF2-40B4-BE49-F238E27FC236}">
                <a16:creationId xmlns:a16="http://schemas.microsoft.com/office/drawing/2014/main" id="{812E8D59-57A0-4F12-24A4-759EF33B0D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3549" y="1441219"/>
            <a:ext cx="4625582" cy="4094497"/>
          </a:xfrm>
          <a:prstGeom prst="rect">
            <a:avLst/>
          </a:prstGeom>
        </p:spPr>
      </p:pic>
      <p:sp>
        <p:nvSpPr>
          <p:cNvPr id="38" name="Title 1">
            <a:extLst>
              <a:ext uri="{FF2B5EF4-FFF2-40B4-BE49-F238E27FC236}">
                <a16:creationId xmlns:a16="http://schemas.microsoft.com/office/drawing/2014/main" id="{1A74CAF8-4C51-B6D2-32FD-A768CABE9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800" y="115656"/>
            <a:ext cx="8421688" cy="132556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iovision Smartlink</a:t>
            </a:r>
          </a:p>
        </p:txBody>
      </p:sp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04053312-0C07-51AB-7847-8C9775D8B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029971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1852553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303283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238703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93416">
                  <a:extLst>
                    <a:ext uri="{9D8B030D-6E8A-4147-A177-3AD203B41FA5}">
                      <a16:colId xmlns:a16="http://schemas.microsoft.com/office/drawing/2014/main" val="1568820529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4144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3E4BDEA-C4EB-D4EA-ACBE-9E9FE5EE7D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0716"/>
            <a:ext cx="12203454" cy="6637283"/>
          </a:xfrm>
          <a:prstGeom prst="rect">
            <a:avLst/>
          </a:prstGeom>
        </p:spPr>
      </p:pic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1D4451E8-9059-C0CD-A80A-C634E54383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029971"/>
              </p:ext>
            </p:extLst>
          </p:nvPr>
        </p:nvGraphicFramePr>
        <p:xfrm>
          <a:off x="0" y="-19052"/>
          <a:ext cx="12203457" cy="320977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743351">
                  <a:extLst>
                    <a:ext uri="{9D8B030D-6E8A-4147-A177-3AD203B41FA5}">
                      <a16:colId xmlns:a16="http://schemas.microsoft.com/office/drawing/2014/main" val="3167496563"/>
                    </a:ext>
                  </a:extLst>
                </a:gridCol>
                <a:gridCol w="1743351">
                  <a:extLst>
                    <a:ext uri="{9D8B030D-6E8A-4147-A177-3AD203B41FA5}">
                      <a16:colId xmlns:a16="http://schemas.microsoft.com/office/drawing/2014/main" val="2112115604"/>
                    </a:ext>
                  </a:extLst>
                </a:gridCol>
                <a:gridCol w="1852553">
                  <a:extLst>
                    <a:ext uri="{9D8B030D-6E8A-4147-A177-3AD203B41FA5}">
                      <a16:colId xmlns:a16="http://schemas.microsoft.com/office/drawing/2014/main" val="387728634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664572599"/>
                    </a:ext>
                  </a:extLst>
                </a:gridCol>
                <a:gridCol w="1303283">
                  <a:extLst>
                    <a:ext uri="{9D8B030D-6E8A-4147-A177-3AD203B41FA5}">
                      <a16:colId xmlns:a16="http://schemas.microsoft.com/office/drawing/2014/main" val="273796846"/>
                    </a:ext>
                  </a:extLst>
                </a:gridCol>
                <a:gridCol w="2238703">
                  <a:extLst>
                    <a:ext uri="{9D8B030D-6E8A-4147-A177-3AD203B41FA5}">
                      <a16:colId xmlns:a16="http://schemas.microsoft.com/office/drawing/2014/main" val="423137837"/>
                    </a:ext>
                  </a:extLst>
                </a:gridCol>
                <a:gridCol w="1493416">
                  <a:extLst>
                    <a:ext uri="{9D8B030D-6E8A-4147-A177-3AD203B41FA5}">
                      <a16:colId xmlns:a16="http://schemas.microsoft.com/office/drawing/2014/main" val="1568820529"/>
                    </a:ext>
                  </a:extLst>
                </a:gridCol>
              </a:tblGrid>
              <a:tr h="32097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t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stimated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Updates and Current 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formation Gathere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earnings and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54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5583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56,1,Smart Traffic Vendor Projec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4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9E6DF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6">
      <a:majorFont>
        <a:latin typeface="Tenorite"/>
        <a:ea typeface=""/>
        <a:cs typeface=""/>
      </a:majorFont>
      <a:minorFont>
        <a:latin typeface="Tenori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inimalist Presentation_tm67328976_Win32_LW_SL_v3" id="{B5A5B451-F186-4F05-917D-430247B33515}" vid="{C0610F80-F57F-4E6B-A096-3AEBDD5FC54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0" ma:contentTypeDescription="Create a new document." ma:contentTypeScope="" ma:versionID="1267097ee5f5874adfcc408041ae252e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395891a93df65b14727750f2c06c306c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Image" minOccurs="0"/>
                <xsd:element ref="ns4:TaxCatchAll" minOccurs="0"/>
                <xsd:element ref="ns2:ImageTags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22" nillable="true" ma:displayName="Image" ma:format="Image" ma:internalName="Im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/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96B61E-1B64-430F-934F-7D1B900280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9C43685-694E-4579-B109-3C418D49DA65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0FD6FE22-81A0-4500-AFD0-342D21BB9A2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{C7F5AA0A-1CF8-4551-A6A1-11F24F48F28C}tf67328976_win32</Template>
  <TotalTime>664</TotalTime>
  <Words>965</Words>
  <Application>Microsoft Office PowerPoint</Application>
  <PresentationFormat>Widescreen</PresentationFormat>
  <Paragraphs>301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Tenorite</vt:lpstr>
      <vt:lpstr>Office Theme</vt:lpstr>
      <vt:lpstr>think-cell Slide</vt:lpstr>
      <vt:lpstr>Smart Traffic Vendor Project</vt:lpstr>
      <vt:lpstr>AGENDA</vt:lpstr>
      <vt:lpstr>INTRODUCTION</vt:lpstr>
      <vt:lpstr>Estimated Schedule</vt:lpstr>
      <vt:lpstr>Updates and Current Stage</vt:lpstr>
      <vt:lpstr>Information Gathered</vt:lpstr>
      <vt:lpstr>Miovision Scout</vt:lpstr>
      <vt:lpstr>Miovision Smartlink</vt:lpstr>
      <vt:lpstr>PowerPoint Presentation</vt:lpstr>
      <vt:lpstr>Notraffic</vt:lpstr>
      <vt:lpstr>PowerPoint Presentation</vt:lpstr>
      <vt:lpstr>CHALLENGES</vt:lpstr>
      <vt:lpstr>PowerPoint Presentation</vt:lpstr>
      <vt:lpstr>PowerPoint Presentation</vt:lpstr>
      <vt:lpstr>PowerPoint Presentation</vt:lpstr>
      <vt:lpstr>Learnings and Contributions</vt:lpstr>
      <vt:lpstr>Sources:</vt:lpstr>
      <vt:lpstr>THANK YOU</vt:lpstr>
      <vt:lpstr>Any Questions 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Traffic Vendor Project</dc:title>
  <dc:creator>Yashaswi Ranga Sivaraju (Student)</dc:creator>
  <cp:lastModifiedBy>Yashaswi Ranga Sivaraju (Student)</cp:lastModifiedBy>
  <cp:revision>19</cp:revision>
  <dcterms:created xsi:type="dcterms:W3CDTF">2022-11-16T08:46:48Z</dcterms:created>
  <dcterms:modified xsi:type="dcterms:W3CDTF">2022-11-30T20:1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